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48.xml" ContentType="application/vnd.openxmlformats-officedocument.presentationml.tags+xml"/>
  <Override PartName="/ppt/notesSlides/notesSlide2.xml" ContentType="application/vnd.openxmlformats-officedocument.presentationml.notesSlide+xml"/>
  <Override PartName="/ppt/tags/tag14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0.xml" ContentType="application/vnd.openxmlformats-officedocument.presentationml.tags+xml"/>
  <Override PartName="/ppt/notesSlides/notesSlide5.xml" ContentType="application/vnd.openxmlformats-officedocument.presentationml.notesSlide+xml"/>
  <Override PartName="/ppt/tags/tag151.xml" ContentType="application/vnd.openxmlformats-officedocument.presentationml.tags+xml"/>
  <Override PartName="/ppt/notesSlides/notesSlide6.xml" ContentType="application/vnd.openxmlformats-officedocument.presentationml.notesSlide+xml"/>
  <Override PartName="/ppt/tags/tag152.xml" ContentType="application/vnd.openxmlformats-officedocument.presentationml.tags+xml"/>
  <Override PartName="/ppt/notesSlides/notesSlide7.xml" ContentType="application/vnd.openxmlformats-officedocument.presentationml.notesSlide+xml"/>
  <Override PartName="/ppt/tags/tag153.xml" ContentType="application/vnd.openxmlformats-officedocument.presentationml.tags+xml"/>
  <Override PartName="/ppt/notesSlides/notesSlide8.xml" ContentType="application/vnd.openxmlformats-officedocument.presentationml.notesSlide+xml"/>
  <Override PartName="/ppt/tags/tag154.xml" ContentType="application/vnd.openxmlformats-officedocument.presentationml.tags+xml"/>
  <Override PartName="/ppt/notesSlides/notesSlide9.xml" ContentType="application/vnd.openxmlformats-officedocument.presentationml.notesSlide+xml"/>
  <Override PartName="/ppt/tags/tag155.xml" ContentType="application/vnd.openxmlformats-officedocument.presentationml.tags+xml"/>
  <Override PartName="/ppt/notesSlides/notesSlide10.xml" ContentType="application/vnd.openxmlformats-officedocument.presentationml.notesSlide+xml"/>
  <Override PartName="/ppt/tags/tag15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bookmarkIdSeed="2">
  <p:sldMasterIdLst>
    <p:sldMasterId id="2147485117" r:id="rId4"/>
    <p:sldMasterId id="2147485192" r:id="rId5"/>
    <p:sldMasterId id="2147485212" r:id="rId6"/>
    <p:sldMasterId id="2147485233" r:id="rId7"/>
    <p:sldMasterId id="2147485281" r:id="rId8"/>
  </p:sldMasterIdLst>
  <p:notesMasterIdLst>
    <p:notesMasterId r:id="rId26"/>
  </p:notesMasterIdLst>
  <p:handoutMasterIdLst>
    <p:handoutMasterId r:id="rId27"/>
  </p:handoutMasterIdLst>
  <p:sldIdLst>
    <p:sldId id="256" r:id="rId9"/>
    <p:sldId id="2147481016" r:id="rId10"/>
    <p:sldId id="2147474471" r:id="rId11"/>
    <p:sldId id="2147481043" r:id="rId12"/>
    <p:sldId id="2147481019" r:id="rId13"/>
    <p:sldId id="2147481009" r:id="rId14"/>
    <p:sldId id="2147481027" r:id="rId15"/>
    <p:sldId id="2147481028" r:id="rId16"/>
    <p:sldId id="2147481029" r:id="rId17"/>
    <p:sldId id="2147481030" r:id="rId18"/>
    <p:sldId id="2147481031" r:id="rId19"/>
    <p:sldId id="2076136573" r:id="rId20"/>
    <p:sldId id="2147481044" r:id="rId21"/>
    <p:sldId id="2147481046" r:id="rId22"/>
    <p:sldId id="2147481045" r:id="rId23"/>
    <p:sldId id="2147481002" r:id="rId24"/>
    <p:sldId id="267" r:id="rId25"/>
  </p:sldIdLst>
  <p:sldSz cx="12192000" cy="6858000"/>
  <p:notesSz cx="6950075" cy="9236075"/>
  <p:custShowLst>
    <p:custShow name="Format Guide Workshop" id="0">
      <p:sldLst/>
    </p:custShow>
  </p:custShowLst>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5" userDrawn="1">
          <p15:clr>
            <a:srgbClr val="A4A3A4"/>
          </p15:clr>
        </p15:guide>
        <p15:guide id="2" pos="264" userDrawn="1">
          <p15:clr>
            <a:srgbClr val="A4A3A4"/>
          </p15:clr>
        </p15:guide>
        <p15:guide id="3" orient="horz" pos="624" userDrawn="1">
          <p15:clr>
            <a:srgbClr val="A4A3A4"/>
          </p15:clr>
        </p15:guide>
        <p15:guide id="4" pos="4608" userDrawn="1">
          <p15:clr>
            <a:srgbClr val="A4A3A4"/>
          </p15:clr>
        </p15:guide>
        <p15:guide id="5" pos="7080" userDrawn="1">
          <p15:clr>
            <a:srgbClr val="A4A3A4"/>
          </p15:clr>
        </p15:guide>
        <p15:guide id="6" orient="horz" pos="103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1D77909-7C0F-7ACA-C9E4-0CDF25E2E83C}" name="Guest User" initials="GU" userId="S::urn:spo:anon#c32146f3505befee57c8aa54f891fbc0155c9097413bc9a24c531486ebaa6e36::" providerId="AD"/>
  <p188:author id="{3D9C62AD-AC63-7ACC-B1BC-E41E0C9CA8AD}" name="Williams, Caitlin" initials="WC" userId="S::williacr@ad.unc.edu::40ca2e46-fca8-4f3a-b31c-0449185db7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ALLOS, Ioannis" initials="GI" lastIdx="32" clrIdx="0">
    <p:extLst>
      <p:ext uri="{19B8F6BF-5375-455C-9EA6-DF929625EA0E}">
        <p15:presenceInfo xmlns:p15="http://schemas.microsoft.com/office/powerpoint/2012/main" userId="S::gallosi@who.int::b9d22ce8-da1b-4da6-bf61-71350d5879ef" providerId="AD"/>
      </p:ext>
    </p:extLst>
  </p:cmAuthor>
  <p:cmAuthor id="2" name="Kemoun, Raphaelle" initials="KR" lastIdx="9" clrIdx="1">
    <p:extLst>
      <p:ext uri="{19B8F6BF-5375-455C-9EA6-DF929625EA0E}">
        <p15:presenceInfo xmlns:p15="http://schemas.microsoft.com/office/powerpoint/2012/main" userId="Kemoun, Raphaell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CAE5EE"/>
    <a:srgbClr val="E71C57"/>
    <a:srgbClr val="006037"/>
    <a:srgbClr val="FFFDE5"/>
    <a:srgbClr val="F9CFDE"/>
    <a:srgbClr val="FCD8C0"/>
    <a:srgbClr val="FBC29B"/>
    <a:srgbClr val="FFF59B"/>
    <a:srgbClr val="FFD7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2F2E3F-BC55-4D06-869E-405937B17C90}" v="3" dt="2023-09-12T22:05:04.2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78397" autoAdjust="0"/>
  </p:normalViewPr>
  <p:slideViewPr>
    <p:cSldViewPr snapToGrid="0">
      <p:cViewPr varScale="1">
        <p:scale>
          <a:sx n="87" d="100"/>
          <a:sy n="87" d="100"/>
        </p:scale>
        <p:origin x="1536" y="192"/>
      </p:cViewPr>
      <p:guideLst>
        <p:guide orient="horz" pos="255"/>
        <p:guide pos="264"/>
        <p:guide orient="horz" pos="624"/>
        <p:guide pos="4608"/>
        <p:guide pos="7080"/>
        <p:guide orient="horz" pos="1032"/>
      </p:guideLst>
    </p:cSldViewPr>
  </p:slideViewPr>
  <p:notesTextViewPr>
    <p:cViewPr>
      <p:scale>
        <a:sx n="1" d="1"/>
        <a:sy n="1" d="1"/>
      </p:scale>
      <p:origin x="0" y="0"/>
    </p:cViewPr>
  </p:notesTextViewPr>
  <p:sorterViewPr>
    <p:cViewPr varScale="1">
      <p:scale>
        <a:sx n="100" d="100"/>
        <a:sy n="100" d="100"/>
      </p:scale>
      <p:origin x="0" y="-4164"/>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9/13/23</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mn-lt"/>
              <a:ea typeface="+mn-ea"/>
              <a:cs typeface="+mn-cs"/>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defRPr>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defRPr>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defRPr>
            </a:lvl1pPr>
          </a:lstStyle>
          <a:p>
            <a:fld id="{F2C7CF5F-7CF3-4DF3-838A-EE34544862CC}" type="datetimeFigureOut">
              <a:rPr lang="en-US" smtClean="0"/>
              <a:pPr/>
              <a:t>9/13/23</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p:cNvGrpSpPr/>
        <p:nvPr/>
      </p:nvGrpSpPr>
      <p:grpSpPr>
        <a:xfrm>
          <a:off x="0" y="0"/>
          <a:ext cx="0" cy="0"/>
          <a:chOff x="0" y="0"/>
          <a:chExt cx="0" cy="0"/>
        </a:xfrm>
      </p:grpSpPr>
      <p:sp>
        <p:nvSpPr>
          <p:cNvPr id="93" name="Google Shape;93;p1:notes"/>
          <p:cNvSpPr txBox="1">
            <a:spLocks noGrp="1"/>
          </p:cNvSpPr>
          <p:nvPr>
            <p:ph type="body" idx="1"/>
          </p:nvPr>
        </p:nvSpPr>
        <p:spPr>
          <a:xfrm>
            <a:off x="693006" y="4377741"/>
            <a:ext cx="5544046" cy="4147334"/>
          </a:xfrm>
          <a:prstGeom prst="rect">
            <a:avLst/>
          </a:prstGeom>
          <a:noFill/>
          <a:ln>
            <a:noFill/>
          </a:ln>
        </p:spPr>
        <p:txBody>
          <a:bodyPr spcFirstLastPara="1" wrap="square" lIns="92248" tIns="92248" rIns="92248" bIns="92248" anchor="t" anchorCtr="0">
            <a:noAutofit/>
          </a:bodyPr>
          <a:lstStyle/>
          <a:p>
            <a:pPr>
              <a:spcAft>
                <a:spcPts val="0"/>
              </a:spcAft>
              <a:buSzPts val="1100"/>
              <a:buNone/>
            </a:pPr>
            <a:endParaRPr dirty="0"/>
          </a:p>
        </p:txBody>
      </p:sp>
      <p:sp>
        <p:nvSpPr>
          <p:cNvPr id="94" name="Google Shape;94;p1:notes"/>
          <p:cNvSpPr>
            <a:spLocks noGrp="1" noRot="1" noChangeAspect="1"/>
          </p:cNvSpPr>
          <p:nvPr>
            <p:ph type="sldImg" idx="2"/>
          </p:nvPr>
        </p:nvSpPr>
        <p:spPr>
          <a:xfrm>
            <a:off x="393700" y="690563"/>
            <a:ext cx="6143625" cy="34559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61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29542783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p:cNvGrpSpPr/>
        <p:nvPr/>
      </p:nvGrpSpPr>
      <p:grpSpPr>
        <a:xfrm>
          <a:off x="0" y="0"/>
          <a:ext cx="0" cy="0"/>
          <a:chOff x="0" y="0"/>
          <a:chExt cx="0" cy="0"/>
        </a:xfrm>
      </p:grpSpPr>
      <p:sp>
        <p:nvSpPr>
          <p:cNvPr id="163" name="Google Shape;163;p11:notes"/>
          <p:cNvSpPr txBox="1">
            <a:spLocks noGrp="1"/>
          </p:cNvSpPr>
          <p:nvPr>
            <p:ph type="body" idx="1"/>
          </p:nvPr>
        </p:nvSpPr>
        <p:spPr>
          <a:xfrm>
            <a:off x="693006" y="4377741"/>
            <a:ext cx="5544046" cy="4147334"/>
          </a:xfrm>
          <a:prstGeom prst="rect">
            <a:avLst/>
          </a:prstGeom>
          <a:noFill/>
          <a:ln>
            <a:noFill/>
          </a:ln>
        </p:spPr>
        <p:txBody>
          <a:bodyPr spcFirstLastPara="1" wrap="square" lIns="92248" tIns="92248" rIns="92248" bIns="92248" anchor="t" anchorCtr="0">
            <a:noAutofit/>
          </a:bodyPr>
          <a:lstStyle/>
          <a:p>
            <a:pPr>
              <a:spcAft>
                <a:spcPts val="0"/>
              </a:spcAft>
              <a:buSzPts val="1100"/>
              <a:buNone/>
            </a:pPr>
            <a:endParaRPr dirty="0"/>
          </a:p>
        </p:txBody>
      </p:sp>
      <p:sp>
        <p:nvSpPr>
          <p:cNvPr id="164" name="Google Shape;164;p11:notes"/>
          <p:cNvSpPr>
            <a:spLocks noGrp="1" noRot="1" noChangeAspect="1"/>
          </p:cNvSpPr>
          <p:nvPr>
            <p:ph type="sldImg" idx="2"/>
          </p:nvPr>
        </p:nvSpPr>
        <p:spPr>
          <a:xfrm>
            <a:off x="393700" y="690563"/>
            <a:ext cx="6143625" cy="345598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6688" y="579438"/>
            <a:ext cx="6672262" cy="37528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1397762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11954081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s-AR"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2322803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buNone/>
            </a:pPr>
            <a:endParaRPr lang="es-AR"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33728369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a:p>
        </p:txBody>
      </p:sp>
    </p:spTree>
    <p:extLst>
      <p:ext uri="{BB962C8B-B14F-4D97-AF65-F5344CB8AC3E}">
        <p14:creationId xmlns:p14="http://schemas.microsoft.com/office/powerpoint/2010/main" val="2115302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12497441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12584774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35329919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bin"/><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1.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2.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11.bin"/><Relationship Id="rId9"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1.xml"/><Relationship Id="rId7" Type="http://schemas.openxmlformats.org/officeDocument/2006/relationships/image" Target="../media/image1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5.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13.bin"/><Relationship Id="rId9"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1.xml"/><Relationship Id="rId7" Type="http://schemas.openxmlformats.org/officeDocument/2006/relationships/image" Target="../media/image18.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7.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15.bin"/><Relationship Id="rId9"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1.xml"/><Relationship Id="rId7" Type="http://schemas.openxmlformats.org/officeDocument/2006/relationships/image" Target="../media/image18.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9.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17.bin"/><Relationship Id="rId9"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Master" Target="../slideMasters/slideMaster1.xml"/><Relationship Id="rId7" Type="http://schemas.openxmlformats.org/officeDocument/2006/relationships/image" Target="../media/image21.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0.jpe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1.bin"/><Relationship Id="rId9"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26.bin"/><Relationship Id="rId9"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27.bin"/><Relationship Id="rId9"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28.bin"/><Relationship Id="rId9"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8.jpeg"/><Relationship Id="rId5" Type="http://schemas.openxmlformats.org/officeDocument/2006/relationships/image" Target="../media/image10.emf"/><Relationship Id="rId4" Type="http://schemas.openxmlformats.org/officeDocument/2006/relationships/oleObject" Target="../embeddings/oleObject29.bin"/></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2.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30.bin"/><Relationship Id="rId9" Type="http://schemas.openxmlformats.org/officeDocument/2006/relationships/image" Target="../media/image3.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31.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2.xml"/><Relationship Id="rId7" Type="http://schemas.openxmlformats.org/officeDocument/2006/relationships/image" Target="../media/image16.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15.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32.bin"/><Relationship Id="rId9"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33.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7.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34.bin"/><Relationship Id="rId9"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2.xml"/><Relationship Id="rId7" Type="http://schemas.openxmlformats.org/officeDocument/2006/relationships/image" Target="../media/image18.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9.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36.bin"/><Relationship Id="rId9"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3.xml"/><Relationship Id="rId7" Type="http://schemas.openxmlformats.org/officeDocument/2006/relationships/image" Target="../media/image2.emf"/><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39.bin"/><Relationship Id="rId9"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78.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44.bin"/><Relationship Id="rId9"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45.bin"/><Relationship Id="rId9"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46.bin"/><Relationship Id="rId9"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8.jpeg"/><Relationship Id="rId5" Type="http://schemas.openxmlformats.org/officeDocument/2006/relationships/image" Target="../media/image10.emf"/><Relationship Id="rId4" Type="http://schemas.openxmlformats.org/officeDocument/2006/relationships/oleObject" Target="../embeddings/oleObject47.bin"/></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2.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48.bin"/><Relationship Id="rId9"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pn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image" Target="../media/image16.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5.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50.bin"/><Relationship Id="rId9" Type="http://schemas.openxmlformats.org/officeDocument/2006/relationships/image" Target="../media/image3.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image" Target="../media/image18.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7.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52.bin"/><Relationship Id="rId9"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3.xml"/><Relationship Id="rId7" Type="http://schemas.openxmlformats.org/officeDocument/2006/relationships/image" Target="../media/image18.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9.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54.bin"/><Relationship Id="rId9"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7.bin"/><Relationship Id="rId9"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4.xml"/><Relationship Id="rId7" Type="http://schemas.openxmlformats.org/officeDocument/2006/relationships/image" Target="../media/image2.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57.bin"/><Relationship Id="rId9" Type="http://schemas.openxmlformats.org/officeDocument/2006/relationships/image" Target="../media/image4.png"/></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58.bin"/><Relationship Id="rId7"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11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image" Target="../media/image7.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62.bin"/><Relationship Id="rId9"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63.bin"/><Relationship Id="rId9"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4.xml"/><Relationship Id="rId7" Type="http://schemas.openxmlformats.org/officeDocument/2006/relationships/image" Target="../media/image9.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64.bin"/><Relationship Id="rId9"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8.bin"/><Relationship Id="rId9"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8.jpeg"/><Relationship Id="rId5" Type="http://schemas.openxmlformats.org/officeDocument/2006/relationships/image" Target="../media/image10.emf"/><Relationship Id="rId4" Type="http://schemas.openxmlformats.org/officeDocument/2006/relationships/oleObject" Target="../embeddings/oleObject65.bin"/></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4.xml"/><Relationship Id="rId7" Type="http://schemas.openxmlformats.org/officeDocument/2006/relationships/image" Target="../media/image13.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2.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66.bin"/><Relationship Id="rId9"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4.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4.xml"/><Relationship Id="rId7" Type="http://schemas.openxmlformats.org/officeDocument/2006/relationships/image" Target="../media/image16.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5.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68.bin"/><Relationship Id="rId9"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4.xml"/><Relationship Id="rId7" Type="http://schemas.openxmlformats.org/officeDocument/2006/relationships/image" Target="../media/image18.pn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7.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70.bin"/><Relationship Id="rId9"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4.xml"/><Relationship Id="rId7" Type="http://schemas.openxmlformats.org/officeDocument/2006/relationships/image" Target="../media/image18.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9.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72.bin"/><Relationship Id="rId9" Type="http://schemas.openxmlformats.org/officeDocument/2006/relationships/image" Target="../media/image3.pn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Master" Target="../slideMasters/slideMaster4.xml"/><Relationship Id="rId7" Type="http://schemas.openxmlformats.org/officeDocument/2006/relationships/image" Target="../media/image21.pn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20.jpeg"/><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jpeg"/><Relationship Id="rId5" Type="http://schemas.openxmlformats.org/officeDocument/2006/relationships/image" Target="../media/image7.emf"/><Relationship Id="rId10" Type="http://schemas.openxmlformats.org/officeDocument/2006/relationships/image" Target="../media/image4.png"/><Relationship Id="rId4" Type="http://schemas.openxmlformats.org/officeDocument/2006/relationships/oleObject" Target="../embeddings/oleObject9.bin"/><Relationship Id="rId9" Type="http://schemas.openxmlformats.org/officeDocument/2006/relationships/image" Target="../media/image3.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8.jpeg"/><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43311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24" name="Picture 23">
            <a:extLst>
              <a:ext uri="{FF2B5EF4-FFF2-40B4-BE49-F238E27FC236}">
                <a16:creationId xmlns:a16="http://schemas.microsoft.com/office/drawing/2014/main" id="{9C37CEC2-F9C0-431A-9F8F-8501AC8EE328}"/>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a:off x="0" y="0"/>
            <a:ext cx="12192000" cy="4406900"/>
          </a:xfrm>
          <a:prstGeom prst="rect">
            <a:avLst/>
          </a:prstGeom>
        </p:spPr>
      </p:pic>
      <p:sp>
        <p:nvSpPr>
          <p:cNvPr id="8" name="Rectangle 7">
            <a:extLst>
              <a:ext uri="{FF2B5EF4-FFF2-40B4-BE49-F238E27FC236}">
                <a16:creationId xmlns:a16="http://schemas.microsoft.com/office/drawing/2014/main" id="{2FA224E0-44DF-9944-C205-47C8909A9BA5}"/>
              </a:ext>
            </a:extLst>
          </p:cNvPr>
          <p:cNvSpPr/>
          <p:nvPr userDrawn="1"/>
        </p:nvSpPr>
        <p:spPr>
          <a:xfrm>
            <a:off x="0" y="5328799"/>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Text Placeholder 45">
            <a:extLst>
              <a:ext uri="{FF2B5EF4-FFF2-40B4-BE49-F238E27FC236}">
                <a16:creationId xmlns:a16="http://schemas.microsoft.com/office/drawing/2014/main" id="{45528603-D88C-E99C-0BDA-B5FFBA12694E}"/>
              </a:ext>
            </a:extLst>
          </p:cNvPr>
          <p:cNvSpPr>
            <a:spLocks noGrp="1"/>
          </p:cNvSpPr>
          <p:nvPr>
            <p:ph type="body" sz="quarter" idx="11" hasCustomPrompt="1"/>
          </p:nvPr>
        </p:nvSpPr>
        <p:spPr>
          <a:xfrm>
            <a:off x="4027055" y="5674683"/>
            <a:ext cx="7769762" cy="215444"/>
          </a:xfrm>
        </p:spPr>
        <p:txBody>
          <a:bodyPr/>
          <a:lstStyle>
            <a:lvl1pPr algn="r">
              <a:defRPr sz="1400">
                <a:solidFill>
                  <a:srgbClr val="002060"/>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Date</a:t>
            </a:r>
          </a:p>
        </p:txBody>
      </p:sp>
      <p:sp>
        <p:nvSpPr>
          <p:cNvPr id="10" name="Text Placeholder 43">
            <a:extLst>
              <a:ext uri="{FF2B5EF4-FFF2-40B4-BE49-F238E27FC236}">
                <a16:creationId xmlns:a16="http://schemas.microsoft.com/office/drawing/2014/main" id="{3687E06A-6CC0-D5F5-9070-EF9A2448CEAF}"/>
              </a:ext>
            </a:extLst>
          </p:cNvPr>
          <p:cNvSpPr>
            <a:spLocks noGrp="1"/>
          </p:cNvSpPr>
          <p:nvPr>
            <p:ph type="body" sz="quarter" idx="10" hasCustomPrompt="1"/>
          </p:nvPr>
        </p:nvSpPr>
        <p:spPr>
          <a:xfrm>
            <a:off x="4027055" y="5242718"/>
            <a:ext cx="7769762" cy="307777"/>
          </a:xfrm>
        </p:spPr>
        <p:txBody>
          <a:bodyPr/>
          <a:lstStyle>
            <a:lvl1pPr algn="r">
              <a:defRPr sz="2000">
                <a:solidFill>
                  <a:srgbClr val="002060"/>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Subtitle</a:t>
            </a:r>
          </a:p>
        </p:txBody>
      </p:sp>
      <p:sp>
        <p:nvSpPr>
          <p:cNvPr id="15" name="Title 4">
            <a:extLst>
              <a:ext uri="{FF2B5EF4-FFF2-40B4-BE49-F238E27FC236}">
                <a16:creationId xmlns:a16="http://schemas.microsoft.com/office/drawing/2014/main" id="{6114FBB0-AD38-9B7E-DCCD-45867431489B}"/>
              </a:ext>
            </a:extLst>
          </p:cNvPr>
          <p:cNvSpPr>
            <a:spLocks noGrp="1"/>
          </p:cNvSpPr>
          <p:nvPr userDrawn="1">
            <p:ph type="title"/>
          </p:nvPr>
        </p:nvSpPr>
        <p:spPr>
          <a:xfrm>
            <a:off x="4027055" y="4509132"/>
            <a:ext cx="7769762" cy="609398"/>
          </a:xfrm>
        </p:spPr>
        <p:txBody>
          <a:bodyPr vert="horz" anchor="b" anchorCtr="0">
            <a:noAutofit/>
          </a:bodyPr>
          <a:lstStyle>
            <a:lvl1pPr algn="r">
              <a:defRPr sz="4400">
                <a:solidFill>
                  <a:srgbClr val="002060"/>
                </a:solidFill>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grpSp>
        <p:nvGrpSpPr>
          <p:cNvPr id="2" name="Group 1">
            <a:extLst>
              <a:ext uri="{FF2B5EF4-FFF2-40B4-BE49-F238E27FC236}">
                <a16:creationId xmlns:a16="http://schemas.microsoft.com/office/drawing/2014/main" id="{96FF1567-4822-8497-B88A-2DF0D54B3F00}"/>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3C4AC96A-41A0-4998-C668-22ADFABFC704}"/>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7" name="Picture 6">
              <a:extLst>
                <a:ext uri="{FF2B5EF4-FFF2-40B4-BE49-F238E27FC236}">
                  <a16:creationId xmlns:a16="http://schemas.microsoft.com/office/drawing/2014/main" id="{75B820F8-9EE0-477D-1474-0EA631D7599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11" name="Picture 10">
              <a:extLst>
                <a:ext uri="{FF2B5EF4-FFF2-40B4-BE49-F238E27FC236}">
                  <a16:creationId xmlns:a16="http://schemas.microsoft.com/office/drawing/2014/main" id="{AD9C7968-0675-DBB4-F893-AFC65FD695EB}"/>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0871302F-B8CE-E116-05D2-C800B6C9387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9450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1524" y="1310"/>
            <a:ext cx="4088312" cy="6856690"/>
          </a:xfrm>
          <a:custGeom>
            <a:avLst/>
            <a:gdLst>
              <a:gd name="connsiteX0" fmla="*/ 0 w 4088312"/>
              <a:gd name="connsiteY0" fmla="*/ 0 h 6856690"/>
              <a:gd name="connsiteX1" fmla="*/ 3264933 w 4088312"/>
              <a:gd name="connsiteY1" fmla="*/ 0 h 6856690"/>
              <a:gd name="connsiteX2" fmla="*/ 4088312 w 4088312"/>
              <a:gd name="connsiteY2" fmla="*/ 3429000 h 6856690"/>
              <a:gd name="connsiteX3" fmla="*/ 3265248 w 4088312"/>
              <a:gd name="connsiteY3" fmla="*/ 6856690 h 6856690"/>
              <a:gd name="connsiteX4" fmla="*/ 0 w 4088312"/>
              <a:gd name="connsiteY4" fmla="*/ 6856690 h 685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6690">
                <a:moveTo>
                  <a:pt x="0" y="0"/>
                </a:moveTo>
                <a:lnTo>
                  <a:pt x="3264933" y="0"/>
                </a:lnTo>
                <a:lnTo>
                  <a:pt x="4088312" y="3429000"/>
                </a:lnTo>
                <a:lnTo>
                  <a:pt x="3265248" y="6856690"/>
                </a:lnTo>
                <a:lnTo>
                  <a:pt x="0" y="6856690"/>
                </a:lnTo>
                <a:close/>
              </a:path>
            </a:pathLst>
          </a:custGeom>
        </p:spPr>
      </p:pic>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720DECF2-9651-9E68-FB75-7EFC765F6221}"/>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08EB074C-7180-9E29-EBEC-74C293A073D2}"/>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6A222DCF-B3B7-3F43-AA31-BD4BE93F4D1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64EAAE73-D920-C338-6702-83A67D158190}"/>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6284B5DE-34EF-B3F3-5923-C6B9D16FC9A8}"/>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88392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002060"/>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7661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8" name="Group 7">
            <a:extLst>
              <a:ext uri="{FF2B5EF4-FFF2-40B4-BE49-F238E27FC236}">
                <a16:creationId xmlns:a16="http://schemas.microsoft.com/office/drawing/2014/main" id="{BBE041EF-3279-0A60-C197-4F32FF4D16AC}"/>
              </a:ext>
            </a:extLst>
          </p:cNvPr>
          <p:cNvGrpSpPr/>
          <p:nvPr userDrawn="1"/>
        </p:nvGrpSpPr>
        <p:grpSpPr>
          <a:xfrm>
            <a:off x="7963242" y="6127738"/>
            <a:ext cx="3510005" cy="644584"/>
            <a:chOff x="7963242" y="6127738"/>
            <a:chExt cx="3510005" cy="644584"/>
          </a:xfrm>
        </p:grpSpPr>
        <p:sp>
          <p:nvSpPr>
            <p:cNvPr id="10" name="Rectangle 9">
              <a:extLst>
                <a:ext uri="{FF2B5EF4-FFF2-40B4-BE49-F238E27FC236}">
                  <a16:creationId xmlns:a16="http://schemas.microsoft.com/office/drawing/2014/main" id="{906847C9-3065-1EDC-A641-203567C839AE}"/>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a:extLst>
                <a:ext uri="{FF2B5EF4-FFF2-40B4-BE49-F238E27FC236}">
                  <a16:creationId xmlns:a16="http://schemas.microsoft.com/office/drawing/2014/main" id="{E3CFEF09-5976-1400-027F-8F2A5B599CB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14" name="Picture 13">
              <a:extLst>
                <a:ext uri="{FF2B5EF4-FFF2-40B4-BE49-F238E27FC236}">
                  <a16:creationId xmlns:a16="http://schemas.microsoft.com/office/drawing/2014/main" id="{25521E30-C12E-4915-ACA1-C21888E1EFB7}"/>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8D949A8D-8E2E-0778-CD7C-284E74757D65}"/>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00553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23729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98FD0839-B91E-3299-3917-C5BDAA4051C8}"/>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4B940503-DF83-412B-2431-7E7DE900C6F4}"/>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FA975E6D-64D6-E43D-8F7D-1AE0025FD0D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3A9BF35A-52EA-9683-6919-B0C003481EC2}"/>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56A959AA-3AA8-CA90-3731-871C685AC6A4}"/>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69934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7996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3" name="Group 2">
            <a:extLst>
              <a:ext uri="{FF2B5EF4-FFF2-40B4-BE49-F238E27FC236}">
                <a16:creationId xmlns:a16="http://schemas.microsoft.com/office/drawing/2014/main" id="{CF1253AB-92B0-F13F-2800-665CEB2ED931}"/>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4E0CB050-39C9-FF1B-DB9B-CAE9284CEEDD}"/>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B664E084-467D-6215-C6C1-8768D903B78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37A74B3C-0970-114C-F01D-9FE63F1FB1B0}"/>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2DDF0CDD-703A-50B6-A3A7-8D0CCEC3B18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97509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5668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CEBF889A-EF65-41C8-9552-3732E3637AF9}"/>
              </a:ext>
            </a:extLst>
          </p:cNvPr>
          <p:cNvPicPr>
            <a:picLocks/>
          </p:cNvPicPr>
          <p:nvPr userDrawn="1"/>
        </p:nvPicPr>
        <p:blipFill>
          <a:blip r:embed="rId6" cstate="print">
            <a:extLst>
              <a:ext uri="{28A0092B-C50C-407E-A947-70E740481C1C}">
                <a14:useLocalDpi xmlns:a14="http://schemas.microsoft.com/office/drawing/2010/main"/>
              </a:ext>
            </a:extLst>
          </a:blip>
          <a:srcRect/>
          <a:stretch>
            <a:fillRect/>
          </a:stretch>
        </p:blipFill>
        <p:spPr>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p:spPr>
      </p:pic>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pic>
        <p:nvPicPr>
          <p:cNvPr id="12" name="Picture 28" descr="World Health Organization Logo, history, meaning, symbol, PNG">
            <a:extLst>
              <a:ext uri="{FF2B5EF4-FFF2-40B4-BE49-F238E27FC236}">
                <a16:creationId xmlns:a16="http://schemas.microsoft.com/office/drawing/2014/main" id="{18D6E33A-A789-492B-A65A-52B415643A26}"/>
              </a:ext>
            </a:extLst>
          </p:cNvPr>
          <p:cNvPicPr>
            <a:picLocks noChangeAspect="1" noChangeArrowheads="1"/>
          </p:cNvPicPr>
          <p:nvPr userDrawn="1"/>
        </p:nvPicPr>
        <p:blipFill rotWithShape="1">
          <a:blip r:embed="rId8" cstate="print">
            <a:extLst>
              <a:ext uri="{28A0092B-C50C-407E-A947-70E740481C1C}">
                <a14:useLocalDpi xmlns:a14="http://schemas.microsoft.com/office/drawing/2010/main"/>
              </a:ext>
            </a:extLst>
          </a:blip>
          <a:srcRect/>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6558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014473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964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457079" y="421353"/>
            <a:ext cx="11082528" cy="332399"/>
          </a:xfr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grpSp>
        <p:nvGrpSpPr>
          <p:cNvPr id="2" name="Group 1">
            <a:extLst>
              <a:ext uri="{FF2B5EF4-FFF2-40B4-BE49-F238E27FC236}">
                <a16:creationId xmlns:a16="http://schemas.microsoft.com/office/drawing/2014/main" id="{032FE39D-CBB3-EE39-B7D6-3AB3BCD4A3F3}"/>
              </a:ext>
            </a:extLst>
          </p:cNvPr>
          <p:cNvGrpSpPr/>
          <p:nvPr userDrawn="1"/>
        </p:nvGrpSpPr>
        <p:grpSpPr>
          <a:xfrm>
            <a:off x="7963242" y="6127738"/>
            <a:ext cx="3510005" cy="644584"/>
            <a:chOff x="7963242" y="6127738"/>
            <a:chExt cx="3510005" cy="644584"/>
          </a:xfrm>
        </p:grpSpPr>
        <p:sp>
          <p:nvSpPr>
            <p:cNvPr id="10" name="Rectangle 9">
              <a:extLst>
                <a:ext uri="{FF2B5EF4-FFF2-40B4-BE49-F238E27FC236}">
                  <a16:creationId xmlns:a16="http://schemas.microsoft.com/office/drawing/2014/main" id="{8568E81F-22AF-F984-F347-AB370C9D5897}"/>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3" name="Picture 12">
              <a:extLst>
                <a:ext uri="{FF2B5EF4-FFF2-40B4-BE49-F238E27FC236}">
                  <a16:creationId xmlns:a16="http://schemas.microsoft.com/office/drawing/2014/main" id="{049B77A5-9115-FB91-2D94-404BD6F5E6A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12" name="Picture 11">
              <a:extLst>
                <a:ext uri="{FF2B5EF4-FFF2-40B4-BE49-F238E27FC236}">
                  <a16:creationId xmlns:a16="http://schemas.microsoft.com/office/drawing/2014/main" id="{77041D55-BCFD-CBB9-909B-AD589E93B8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F4A8EE10-7726-DAF9-B19F-83BADA0D6CD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8 by Boston Consulting Group. All rights reserved.</a:t>
            </a:r>
          </a:p>
        </p:txBody>
      </p:sp>
    </p:spTree>
    <p:extLst>
      <p:ext uri="{BB962C8B-B14F-4D97-AF65-F5344CB8AC3E}">
        <p14:creationId xmlns:p14="http://schemas.microsoft.com/office/powerpoint/2010/main" val="1410061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D. Blank green">
    <p:bg>
      <p:bgPr>
        <a:gradFill>
          <a:gsLst>
            <a:gs pos="0">
              <a:srgbClr val="0077A0"/>
            </a:gs>
            <a:gs pos="28000">
              <a:srgbClr val="005180"/>
            </a:gs>
            <a:gs pos="85000">
              <a:srgbClr val="002E62"/>
            </a:gs>
          </a:gsLst>
          <a:lin ang="4200000" scaled="0"/>
        </a:gradFill>
        <a:effectLst/>
      </p:bgPr>
    </p:bg>
    <p:spTree>
      <p:nvGrpSpPr>
        <p:cNvPr id="1" name=""/>
        <p:cNvGrpSpPr/>
        <p:nvPr/>
      </p:nvGrpSpPr>
      <p:grpSpPr>
        <a:xfrm>
          <a:off x="0" y="0"/>
          <a:ext cx="0" cy="0"/>
          <a:chOff x="0" y="0"/>
          <a:chExt cx="0" cy="0"/>
        </a:xfrm>
      </p:grpSpPr>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1033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le Only - gradient" type="titleOnly">
  <p:cSld name="Title Only - gradient">
    <p:bg>
      <p:bgPr>
        <a:gradFill>
          <a:gsLst>
            <a:gs pos="0">
              <a:schemeClr val="accent1"/>
            </a:gs>
            <a:gs pos="100000">
              <a:schemeClr val="accent2"/>
            </a:gs>
          </a:gsLst>
          <a:lin ang="10800000" scaled="0"/>
        </a:gradFill>
        <a:effectLst/>
      </p:bgPr>
    </p:bg>
    <p:spTree>
      <p:nvGrpSpPr>
        <p:cNvPr id="1" name="Shape 43"/>
        <p:cNvGrpSpPr/>
        <p:nvPr/>
      </p:nvGrpSpPr>
      <p:grpSpPr>
        <a:xfrm>
          <a:off x="0" y="0"/>
          <a:ext cx="0" cy="0"/>
          <a:chOff x="0" y="0"/>
          <a:chExt cx="0" cy="0"/>
        </a:xfrm>
      </p:grpSpPr>
      <p:sp>
        <p:nvSpPr>
          <p:cNvPr id="44" name="Google Shape;44;p22"/>
          <p:cNvSpPr txBox="1">
            <a:spLocks noGrp="1"/>
          </p:cNvSpPr>
          <p:nvPr>
            <p:ph type="title"/>
          </p:nvPr>
        </p:nvSpPr>
        <p:spPr>
          <a:xfrm>
            <a:off x="418641" y="296885"/>
            <a:ext cx="10935159" cy="1325563"/>
          </a:xfrm>
          <a:prstGeom prst="rect">
            <a:avLst/>
          </a:prstGeom>
          <a:noFill/>
          <a:ln>
            <a:noFill/>
          </a:ln>
        </p:spPr>
        <p:txBody>
          <a:bodyPr spcFirstLastPara="1" wrap="square" lIns="0" tIns="45700" rIns="91425" bIns="45700" anchor="ctr" anchorCtr="0">
            <a:noAutofit/>
          </a:bodyPr>
          <a:lstStyle>
            <a:lvl1pPr lvl="0" algn="l">
              <a:lnSpc>
                <a:spcPct val="75000"/>
              </a:lnSpc>
              <a:spcBef>
                <a:spcPts val="0"/>
              </a:spcBef>
              <a:spcAft>
                <a:spcPts val="0"/>
              </a:spcAft>
              <a:buClr>
                <a:schemeClr val="lt1"/>
              </a:buClr>
              <a:buSzPts val="4400"/>
              <a:buFont typeface="Calibri"/>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76754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Only - blank">
  <p:cSld name="Title Only - blank">
    <p:spTree>
      <p:nvGrpSpPr>
        <p:cNvPr id="1" name="Shape 59"/>
        <p:cNvGrpSpPr/>
        <p:nvPr/>
      </p:nvGrpSpPr>
      <p:grpSpPr>
        <a:xfrm>
          <a:off x="0" y="0"/>
          <a:ext cx="0" cy="0"/>
          <a:chOff x="0" y="0"/>
          <a:chExt cx="0" cy="0"/>
        </a:xfrm>
      </p:grpSpPr>
      <p:sp>
        <p:nvSpPr>
          <p:cNvPr id="60" name="Google Shape;60;p24"/>
          <p:cNvSpPr txBox="1">
            <a:spLocks noGrp="1"/>
          </p:cNvSpPr>
          <p:nvPr>
            <p:ph type="title"/>
          </p:nvPr>
        </p:nvSpPr>
        <p:spPr>
          <a:xfrm>
            <a:off x="418641" y="296885"/>
            <a:ext cx="10935159" cy="1325563"/>
          </a:xfrm>
          <a:prstGeom prst="rect">
            <a:avLst/>
          </a:prstGeom>
          <a:noFill/>
          <a:ln>
            <a:noFill/>
          </a:ln>
        </p:spPr>
        <p:txBody>
          <a:bodyPr spcFirstLastPara="1" wrap="square" lIns="0" tIns="45700" rIns="91425" bIns="45700" anchor="ctr" anchorCtr="0">
            <a:noAutofit/>
          </a:bodyPr>
          <a:lstStyle>
            <a:lvl1pPr lvl="0" algn="l">
              <a:lnSpc>
                <a:spcPct val="75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17576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End Slide">
  <p:cSld name="End Slide">
    <p:spTree>
      <p:nvGrpSpPr>
        <p:cNvPr id="1" name="Shape 45"/>
        <p:cNvGrpSpPr/>
        <p:nvPr/>
      </p:nvGrpSpPr>
      <p:grpSpPr>
        <a:xfrm>
          <a:off x="0" y="0"/>
          <a:ext cx="0" cy="0"/>
          <a:chOff x="0" y="0"/>
          <a:chExt cx="0" cy="0"/>
        </a:xfrm>
      </p:grpSpPr>
      <p:sp>
        <p:nvSpPr>
          <p:cNvPr id="46" name="Google Shape;46;p23"/>
          <p:cNvSpPr/>
          <p:nvPr/>
        </p:nvSpPr>
        <p:spPr>
          <a:xfrm>
            <a:off x="0" y="5983705"/>
            <a:ext cx="12192000" cy="874295"/>
          </a:xfrm>
          <a:prstGeom prst="rect">
            <a:avLst/>
          </a:prstGeom>
          <a:blipFill rotWithShape="1">
            <a:blip r:embed="rId2">
              <a:alphaModFix/>
            </a:blip>
            <a:tile tx="412750" ty="69850" sx="45000" sy="45000" flip="none" algn="tl"/>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7" name="Google Shape;47;p23"/>
          <p:cNvPicPr preferRelativeResize="0"/>
          <p:nvPr/>
        </p:nvPicPr>
        <p:blipFill rotWithShape="1">
          <a:blip r:embed="rId3">
            <a:alphaModFix/>
          </a:blip>
          <a:srcRect/>
          <a:stretch/>
        </p:blipFill>
        <p:spPr>
          <a:xfrm>
            <a:off x="5500925" y="1262913"/>
            <a:ext cx="1190149" cy="1813561"/>
          </a:xfrm>
          <a:prstGeom prst="rect">
            <a:avLst/>
          </a:prstGeom>
          <a:noFill/>
          <a:ln>
            <a:noFill/>
          </a:ln>
        </p:spPr>
      </p:pic>
    </p:spTree>
    <p:extLst>
      <p:ext uri="{BB962C8B-B14F-4D97-AF65-F5344CB8AC3E}">
        <p14:creationId xmlns:p14="http://schemas.microsoft.com/office/powerpoint/2010/main" val="38328529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43311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24" name="Picture 23">
            <a:extLst>
              <a:ext uri="{FF2B5EF4-FFF2-40B4-BE49-F238E27FC236}">
                <a16:creationId xmlns:a16="http://schemas.microsoft.com/office/drawing/2014/main" id="{9C37CEC2-F9C0-431A-9F8F-8501AC8EE328}"/>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a:off x="0" y="0"/>
            <a:ext cx="12192000" cy="4406900"/>
          </a:xfrm>
          <a:prstGeom prst="rect">
            <a:avLst/>
          </a:prstGeom>
        </p:spPr>
      </p:pic>
      <p:sp>
        <p:nvSpPr>
          <p:cNvPr id="8" name="Rectangle 7">
            <a:extLst>
              <a:ext uri="{FF2B5EF4-FFF2-40B4-BE49-F238E27FC236}">
                <a16:creationId xmlns:a16="http://schemas.microsoft.com/office/drawing/2014/main" id="{2FA224E0-44DF-9944-C205-47C8909A9BA5}"/>
              </a:ext>
            </a:extLst>
          </p:cNvPr>
          <p:cNvSpPr/>
          <p:nvPr userDrawn="1"/>
        </p:nvSpPr>
        <p:spPr>
          <a:xfrm>
            <a:off x="0" y="5328799"/>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Text Placeholder 45">
            <a:extLst>
              <a:ext uri="{FF2B5EF4-FFF2-40B4-BE49-F238E27FC236}">
                <a16:creationId xmlns:a16="http://schemas.microsoft.com/office/drawing/2014/main" id="{45528603-D88C-E99C-0BDA-B5FFBA12694E}"/>
              </a:ext>
            </a:extLst>
          </p:cNvPr>
          <p:cNvSpPr>
            <a:spLocks noGrp="1"/>
          </p:cNvSpPr>
          <p:nvPr>
            <p:ph type="body" sz="quarter" idx="11" hasCustomPrompt="1"/>
          </p:nvPr>
        </p:nvSpPr>
        <p:spPr>
          <a:xfrm>
            <a:off x="4027055" y="5674683"/>
            <a:ext cx="7769762" cy="215444"/>
          </a:xfrm>
        </p:spPr>
        <p:txBody>
          <a:bodyPr/>
          <a:lstStyle>
            <a:lvl1pPr algn="r">
              <a:defRPr sz="1400">
                <a:solidFill>
                  <a:srgbClr val="002060"/>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Date</a:t>
            </a:r>
          </a:p>
        </p:txBody>
      </p:sp>
      <p:sp>
        <p:nvSpPr>
          <p:cNvPr id="10" name="Text Placeholder 43">
            <a:extLst>
              <a:ext uri="{FF2B5EF4-FFF2-40B4-BE49-F238E27FC236}">
                <a16:creationId xmlns:a16="http://schemas.microsoft.com/office/drawing/2014/main" id="{3687E06A-6CC0-D5F5-9070-EF9A2448CEAF}"/>
              </a:ext>
            </a:extLst>
          </p:cNvPr>
          <p:cNvSpPr>
            <a:spLocks noGrp="1"/>
          </p:cNvSpPr>
          <p:nvPr>
            <p:ph type="body" sz="quarter" idx="10" hasCustomPrompt="1"/>
          </p:nvPr>
        </p:nvSpPr>
        <p:spPr>
          <a:xfrm>
            <a:off x="4027055" y="5242718"/>
            <a:ext cx="7769762" cy="307777"/>
          </a:xfrm>
        </p:spPr>
        <p:txBody>
          <a:bodyPr/>
          <a:lstStyle>
            <a:lvl1pPr algn="r">
              <a:defRPr sz="2000">
                <a:solidFill>
                  <a:srgbClr val="002060"/>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Subtitle</a:t>
            </a:r>
          </a:p>
        </p:txBody>
      </p:sp>
      <p:sp>
        <p:nvSpPr>
          <p:cNvPr id="15" name="Title 4">
            <a:extLst>
              <a:ext uri="{FF2B5EF4-FFF2-40B4-BE49-F238E27FC236}">
                <a16:creationId xmlns:a16="http://schemas.microsoft.com/office/drawing/2014/main" id="{6114FBB0-AD38-9B7E-DCCD-45867431489B}"/>
              </a:ext>
            </a:extLst>
          </p:cNvPr>
          <p:cNvSpPr>
            <a:spLocks noGrp="1"/>
          </p:cNvSpPr>
          <p:nvPr userDrawn="1">
            <p:ph type="title"/>
          </p:nvPr>
        </p:nvSpPr>
        <p:spPr>
          <a:xfrm>
            <a:off x="4027055" y="4509132"/>
            <a:ext cx="7769762" cy="609398"/>
          </a:xfrm>
        </p:spPr>
        <p:txBody>
          <a:bodyPr vert="horz" anchor="b" anchorCtr="0">
            <a:noAutofit/>
          </a:bodyPr>
          <a:lstStyle>
            <a:lvl1pPr algn="r">
              <a:defRPr sz="4400">
                <a:solidFill>
                  <a:srgbClr val="002060"/>
                </a:solidFill>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grpSp>
        <p:nvGrpSpPr>
          <p:cNvPr id="2" name="Group 1">
            <a:extLst>
              <a:ext uri="{FF2B5EF4-FFF2-40B4-BE49-F238E27FC236}">
                <a16:creationId xmlns:a16="http://schemas.microsoft.com/office/drawing/2014/main" id="{96FF1567-4822-8497-B88A-2DF0D54B3F00}"/>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3C4AC96A-41A0-4998-C668-22ADFABFC704}"/>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7" name="Picture 6">
              <a:extLst>
                <a:ext uri="{FF2B5EF4-FFF2-40B4-BE49-F238E27FC236}">
                  <a16:creationId xmlns:a16="http://schemas.microsoft.com/office/drawing/2014/main" id="{75B820F8-9EE0-477D-1474-0EA631D7599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11" name="Picture 10">
              <a:extLst>
                <a:ext uri="{FF2B5EF4-FFF2-40B4-BE49-F238E27FC236}">
                  <a16:creationId xmlns:a16="http://schemas.microsoft.com/office/drawing/2014/main" id="{AD9C7968-0675-DBB4-F893-AFC65FD695EB}"/>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0871302F-B8CE-E116-05D2-C800B6C9387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151518358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964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457079" y="421353"/>
            <a:ext cx="11082528" cy="332399"/>
          </a:xfr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grpSp>
        <p:nvGrpSpPr>
          <p:cNvPr id="2" name="Group 1">
            <a:extLst>
              <a:ext uri="{FF2B5EF4-FFF2-40B4-BE49-F238E27FC236}">
                <a16:creationId xmlns:a16="http://schemas.microsoft.com/office/drawing/2014/main" id="{032FE39D-CBB3-EE39-B7D6-3AB3BCD4A3F3}"/>
              </a:ext>
            </a:extLst>
          </p:cNvPr>
          <p:cNvGrpSpPr/>
          <p:nvPr userDrawn="1"/>
        </p:nvGrpSpPr>
        <p:grpSpPr>
          <a:xfrm>
            <a:off x="7963242" y="6127738"/>
            <a:ext cx="3510005" cy="644584"/>
            <a:chOff x="7963242" y="6127738"/>
            <a:chExt cx="3510005" cy="644584"/>
          </a:xfrm>
        </p:grpSpPr>
        <p:sp>
          <p:nvSpPr>
            <p:cNvPr id="10" name="Rectangle 9">
              <a:extLst>
                <a:ext uri="{FF2B5EF4-FFF2-40B4-BE49-F238E27FC236}">
                  <a16:creationId xmlns:a16="http://schemas.microsoft.com/office/drawing/2014/main" id="{8568E81F-22AF-F984-F347-AB370C9D5897}"/>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3" name="Picture 12">
              <a:extLst>
                <a:ext uri="{FF2B5EF4-FFF2-40B4-BE49-F238E27FC236}">
                  <a16:creationId xmlns:a16="http://schemas.microsoft.com/office/drawing/2014/main" id="{049B77A5-9115-FB91-2D94-404BD6F5E6A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12" name="Picture 11">
              <a:extLst>
                <a:ext uri="{FF2B5EF4-FFF2-40B4-BE49-F238E27FC236}">
                  <a16:creationId xmlns:a16="http://schemas.microsoft.com/office/drawing/2014/main" id="{77041D55-BCFD-CBB9-909B-AD589E93B8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F4A8EE10-7726-DAF9-B19F-83BADA0D6CD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2220698565"/>
      </p:ext>
    </p:extLst>
  </p:cSld>
  <p:clrMapOvr>
    <a:masterClrMapping/>
  </p:clrMapOvr>
  <p:transition>
    <p:fade/>
  </p:transition>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52821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252236646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2252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348294563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67903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6" name="Picture 1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379392254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52821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3560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23" name="Picture 22"/>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2"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4C646B25-2F2A-E21E-AD3E-ED49FECA74A0}"/>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1AABC397-4687-026A-D958-B50903282713}"/>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5" name="Picture 4">
              <a:extLst>
                <a:ext uri="{FF2B5EF4-FFF2-40B4-BE49-F238E27FC236}">
                  <a16:creationId xmlns:a16="http://schemas.microsoft.com/office/drawing/2014/main" id="{FF6D1545-04AD-28EE-C02F-4C968208848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6" name="Picture 5">
              <a:extLst>
                <a:ext uri="{FF2B5EF4-FFF2-40B4-BE49-F238E27FC236}">
                  <a16:creationId xmlns:a16="http://schemas.microsoft.com/office/drawing/2014/main" id="{61BC6AA3-44DF-4C42-8E70-A62B4482629B}"/>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05A84840-546E-7533-3430-C21AA23C1A0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06045207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99058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6"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F94328BA-396E-7EB6-AC22-F4673D9D5816}"/>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34AAF8F6-8212-DA96-4CDE-FF3B2F504DAD}"/>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5" name="Picture 4">
              <a:extLst>
                <a:ext uri="{FF2B5EF4-FFF2-40B4-BE49-F238E27FC236}">
                  <a16:creationId xmlns:a16="http://schemas.microsoft.com/office/drawing/2014/main" id="{F8BEF624-4DCF-B0D4-4622-57F94066302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6" name="Picture 5">
              <a:extLst>
                <a:ext uri="{FF2B5EF4-FFF2-40B4-BE49-F238E27FC236}">
                  <a16:creationId xmlns:a16="http://schemas.microsoft.com/office/drawing/2014/main" id="{A85CD046-6D23-0E31-579E-670F8C6B5087}"/>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D0A03421-CB84-A232-6AA9-CDA714D1DBC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193016598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53749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CD8754D1-EF25-3FDB-D9C2-1764D80D1BC0}"/>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40E57D76-D868-A805-78DF-82ED08385814}"/>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5" name="Picture 4">
              <a:extLst>
                <a:ext uri="{FF2B5EF4-FFF2-40B4-BE49-F238E27FC236}">
                  <a16:creationId xmlns:a16="http://schemas.microsoft.com/office/drawing/2014/main" id="{39B5269B-F573-F47F-76D3-5323F6B5D79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6" name="Picture 5">
              <a:extLst>
                <a:ext uri="{FF2B5EF4-FFF2-40B4-BE49-F238E27FC236}">
                  <a16:creationId xmlns:a16="http://schemas.microsoft.com/office/drawing/2014/main" id="{50B8BF70-D4A2-6260-DC43-6CB360C3140A}"/>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9" name="Picture 18" descr="A picture containing text&#10;&#10;Description automatically generated">
              <a:extLst>
                <a:ext uri="{FF2B5EF4-FFF2-40B4-BE49-F238E27FC236}">
                  <a16:creationId xmlns:a16="http://schemas.microsoft.com/office/drawing/2014/main" id="{3BC1D6D7-77E3-3247-F151-4D874FAC805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29057896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0330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002060"/>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29423215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9450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1524" y="1310"/>
            <a:ext cx="4088312" cy="6856690"/>
          </a:xfrm>
          <a:custGeom>
            <a:avLst/>
            <a:gdLst>
              <a:gd name="connsiteX0" fmla="*/ 0 w 4088312"/>
              <a:gd name="connsiteY0" fmla="*/ 0 h 6856690"/>
              <a:gd name="connsiteX1" fmla="*/ 3264933 w 4088312"/>
              <a:gd name="connsiteY1" fmla="*/ 0 h 6856690"/>
              <a:gd name="connsiteX2" fmla="*/ 4088312 w 4088312"/>
              <a:gd name="connsiteY2" fmla="*/ 3429000 h 6856690"/>
              <a:gd name="connsiteX3" fmla="*/ 3265248 w 4088312"/>
              <a:gd name="connsiteY3" fmla="*/ 6856690 h 6856690"/>
              <a:gd name="connsiteX4" fmla="*/ 0 w 4088312"/>
              <a:gd name="connsiteY4" fmla="*/ 6856690 h 685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6690">
                <a:moveTo>
                  <a:pt x="0" y="0"/>
                </a:moveTo>
                <a:lnTo>
                  <a:pt x="3264933" y="0"/>
                </a:lnTo>
                <a:lnTo>
                  <a:pt x="4088312" y="3429000"/>
                </a:lnTo>
                <a:lnTo>
                  <a:pt x="3265248" y="6856690"/>
                </a:lnTo>
                <a:lnTo>
                  <a:pt x="0" y="6856690"/>
                </a:lnTo>
                <a:close/>
              </a:path>
            </a:pathLst>
          </a:custGeom>
        </p:spPr>
      </p:pic>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720DECF2-9651-9E68-FB75-7EFC765F6221}"/>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08EB074C-7180-9E29-EBEC-74C293A073D2}"/>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6A222DCF-B3B7-3F43-AA31-BD4BE93F4D1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64EAAE73-D920-C338-6702-83A67D158190}"/>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6284B5DE-34EF-B3F3-5923-C6B9D16FC9A8}"/>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99791618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88392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002060"/>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203769922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7661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8" name="Group 7">
            <a:extLst>
              <a:ext uri="{FF2B5EF4-FFF2-40B4-BE49-F238E27FC236}">
                <a16:creationId xmlns:a16="http://schemas.microsoft.com/office/drawing/2014/main" id="{BBE041EF-3279-0A60-C197-4F32FF4D16AC}"/>
              </a:ext>
            </a:extLst>
          </p:cNvPr>
          <p:cNvGrpSpPr/>
          <p:nvPr userDrawn="1"/>
        </p:nvGrpSpPr>
        <p:grpSpPr>
          <a:xfrm>
            <a:off x="7963242" y="6127738"/>
            <a:ext cx="3510005" cy="644584"/>
            <a:chOff x="7963242" y="6127738"/>
            <a:chExt cx="3510005" cy="644584"/>
          </a:xfrm>
        </p:grpSpPr>
        <p:sp>
          <p:nvSpPr>
            <p:cNvPr id="10" name="Rectangle 9">
              <a:extLst>
                <a:ext uri="{FF2B5EF4-FFF2-40B4-BE49-F238E27FC236}">
                  <a16:creationId xmlns:a16="http://schemas.microsoft.com/office/drawing/2014/main" id="{906847C9-3065-1EDC-A641-203567C839AE}"/>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a:extLst>
                <a:ext uri="{FF2B5EF4-FFF2-40B4-BE49-F238E27FC236}">
                  <a16:creationId xmlns:a16="http://schemas.microsoft.com/office/drawing/2014/main" id="{E3CFEF09-5976-1400-027F-8F2A5B599CB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14" name="Picture 13">
              <a:extLst>
                <a:ext uri="{FF2B5EF4-FFF2-40B4-BE49-F238E27FC236}">
                  <a16:creationId xmlns:a16="http://schemas.microsoft.com/office/drawing/2014/main" id="{25521E30-C12E-4915-ACA1-C21888E1EFB7}"/>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8D949A8D-8E2E-0778-CD7C-284E74757D65}"/>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58935686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00553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56980954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23729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98FD0839-B91E-3299-3917-C5BDAA4051C8}"/>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4B940503-DF83-412B-2431-7E7DE900C6F4}"/>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FA975E6D-64D6-E43D-8F7D-1AE0025FD0D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3A9BF35A-52EA-9683-6919-B0C003481EC2}"/>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56A959AA-3AA8-CA90-3731-871C685AC6A4}"/>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196902738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69934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12568364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2252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7996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3" name="Group 2">
            <a:extLst>
              <a:ext uri="{FF2B5EF4-FFF2-40B4-BE49-F238E27FC236}">
                <a16:creationId xmlns:a16="http://schemas.microsoft.com/office/drawing/2014/main" id="{CF1253AB-92B0-F13F-2800-665CEB2ED931}"/>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4E0CB050-39C9-FF1B-DB9B-CAE9284CEEDD}"/>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B664E084-467D-6215-C6C1-8768D903B78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37A74B3C-0970-114C-F01D-9FE63F1FB1B0}"/>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2DDF0CDD-703A-50B6-A3A7-8D0CCEC3B18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98493982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97509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58507585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8 by Boston Consulting Group. All rights reserved.</a:t>
            </a:r>
          </a:p>
        </p:txBody>
      </p:sp>
    </p:spTree>
    <p:extLst>
      <p:ext uri="{BB962C8B-B14F-4D97-AF65-F5344CB8AC3E}">
        <p14:creationId xmlns:p14="http://schemas.microsoft.com/office/powerpoint/2010/main" val="141006103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43311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24" name="Picture 23">
            <a:extLst>
              <a:ext uri="{FF2B5EF4-FFF2-40B4-BE49-F238E27FC236}">
                <a16:creationId xmlns:a16="http://schemas.microsoft.com/office/drawing/2014/main" id="{9C37CEC2-F9C0-431A-9F8F-8501AC8EE328}"/>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a:off x="0" y="0"/>
            <a:ext cx="12192000" cy="3429000"/>
          </a:xfrm>
          <a:prstGeom prst="rect">
            <a:avLst/>
          </a:prstGeom>
        </p:spPr>
      </p:pic>
      <p:sp>
        <p:nvSpPr>
          <p:cNvPr id="8" name="Rectangle 7">
            <a:extLst>
              <a:ext uri="{FF2B5EF4-FFF2-40B4-BE49-F238E27FC236}">
                <a16:creationId xmlns:a16="http://schemas.microsoft.com/office/drawing/2014/main" id="{2FA224E0-44DF-9944-C205-47C8909A9BA5}"/>
              </a:ext>
            </a:extLst>
          </p:cNvPr>
          <p:cNvSpPr/>
          <p:nvPr userDrawn="1"/>
        </p:nvSpPr>
        <p:spPr>
          <a:xfrm>
            <a:off x="0" y="5328799"/>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Text Placeholder 45">
            <a:extLst>
              <a:ext uri="{FF2B5EF4-FFF2-40B4-BE49-F238E27FC236}">
                <a16:creationId xmlns:a16="http://schemas.microsoft.com/office/drawing/2014/main" id="{45528603-D88C-E99C-0BDA-B5FFBA12694E}"/>
              </a:ext>
            </a:extLst>
          </p:cNvPr>
          <p:cNvSpPr>
            <a:spLocks noGrp="1"/>
          </p:cNvSpPr>
          <p:nvPr>
            <p:ph type="body" sz="quarter" idx="11" hasCustomPrompt="1"/>
          </p:nvPr>
        </p:nvSpPr>
        <p:spPr>
          <a:xfrm>
            <a:off x="4027055" y="5674683"/>
            <a:ext cx="7769762" cy="215444"/>
          </a:xfrm>
        </p:spPr>
        <p:txBody>
          <a:bodyPr/>
          <a:lstStyle>
            <a:lvl1pPr algn="r">
              <a:defRPr sz="1400">
                <a:solidFill>
                  <a:srgbClr val="002060"/>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Date</a:t>
            </a:r>
          </a:p>
        </p:txBody>
      </p:sp>
      <p:sp>
        <p:nvSpPr>
          <p:cNvPr id="10" name="Text Placeholder 43">
            <a:extLst>
              <a:ext uri="{FF2B5EF4-FFF2-40B4-BE49-F238E27FC236}">
                <a16:creationId xmlns:a16="http://schemas.microsoft.com/office/drawing/2014/main" id="{3687E06A-6CC0-D5F5-9070-EF9A2448CEAF}"/>
              </a:ext>
            </a:extLst>
          </p:cNvPr>
          <p:cNvSpPr>
            <a:spLocks noGrp="1"/>
          </p:cNvSpPr>
          <p:nvPr>
            <p:ph type="body" sz="quarter" idx="10" hasCustomPrompt="1"/>
          </p:nvPr>
        </p:nvSpPr>
        <p:spPr>
          <a:xfrm>
            <a:off x="4027055" y="5242718"/>
            <a:ext cx="7769762" cy="307777"/>
          </a:xfrm>
        </p:spPr>
        <p:txBody>
          <a:bodyPr/>
          <a:lstStyle>
            <a:lvl1pPr algn="r">
              <a:defRPr sz="2000">
                <a:solidFill>
                  <a:srgbClr val="002060"/>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Subtitle</a:t>
            </a:r>
          </a:p>
        </p:txBody>
      </p:sp>
      <p:sp>
        <p:nvSpPr>
          <p:cNvPr id="15" name="Title 4">
            <a:extLst>
              <a:ext uri="{FF2B5EF4-FFF2-40B4-BE49-F238E27FC236}">
                <a16:creationId xmlns:a16="http://schemas.microsoft.com/office/drawing/2014/main" id="{6114FBB0-AD38-9B7E-DCCD-45867431489B}"/>
              </a:ext>
            </a:extLst>
          </p:cNvPr>
          <p:cNvSpPr>
            <a:spLocks noGrp="1"/>
          </p:cNvSpPr>
          <p:nvPr userDrawn="1">
            <p:ph type="title"/>
          </p:nvPr>
        </p:nvSpPr>
        <p:spPr>
          <a:xfrm>
            <a:off x="4027055" y="4509132"/>
            <a:ext cx="7769762" cy="609398"/>
          </a:xfrm>
        </p:spPr>
        <p:txBody>
          <a:bodyPr vert="horz" anchor="b" anchorCtr="0">
            <a:noAutofit/>
          </a:bodyPr>
          <a:lstStyle>
            <a:lvl1pPr algn="r">
              <a:defRPr sz="4400">
                <a:solidFill>
                  <a:srgbClr val="002060"/>
                </a:solidFill>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grpSp>
        <p:nvGrpSpPr>
          <p:cNvPr id="2" name="Group 1">
            <a:extLst>
              <a:ext uri="{FF2B5EF4-FFF2-40B4-BE49-F238E27FC236}">
                <a16:creationId xmlns:a16="http://schemas.microsoft.com/office/drawing/2014/main" id="{96FF1567-4822-8497-B88A-2DF0D54B3F00}"/>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3C4AC96A-41A0-4998-C668-22ADFABFC704}"/>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7" name="Picture 6">
              <a:extLst>
                <a:ext uri="{FF2B5EF4-FFF2-40B4-BE49-F238E27FC236}">
                  <a16:creationId xmlns:a16="http://schemas.microsoft.com/office/drawing/2014/main" id="{75B820F8-9EE0-477D-1474-0EA631D7599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11" name="Picture 10">
              <a:extLst>
                <a:ext uri="{FF2B5EF4-FFF2-40B4-BE49-F238E27FC236}">
                  <a16:creationId xmlns:a16="http://schemas.microsoft.com/office/drawing/2014/main" id="{AD9C7968-0675-DBB4-F893-AFC65FD695EB}"/>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0871302F-B8CE-E116-05D2-C800B6C9387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1264251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964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457079" y="421353"/>
            <a:ext cx="11082528" cy="332399"/>
          </a:xfr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grpSp>
        <p:nvGrpSpPr>
          <p:cNvPr id="2" name="Group 1">
            <a:extLst>
              <a:ext uri="{FF2B5EF4-FFF2-40B4-BE49-F238E27FC236}">
                <a16:creationId xmlns:a16="http://schemas.microsoft.com/office/drawing/2014/main" id="{032FE39D-CBB3-EE39-B7D6-3AB3BCD4A3F3}"/>
              </a:ext>
            </a:extLst>
          </p:cNvPr>
          <p:cNvGrpSpPr/>
          <p:nvPr userDrawn="1"/>
        </p:nvGrpSpPr>
        <p:grpSpPr>
          <a:xfrm>
            <a:off x="7963242" y="6127738"/>
            <a:ext cx="3510005" cy="644584"/>
            <a:chOff x="7963242" y="6127738"/>
            <a:chExt cx="3510005" cy="644584"/>
          </a:xfrm>
        </p:grpSpPr>
        <p:sp>
          <p:nvSpPr>
            <p:cNvPr id="10" name="Rectangle 9">
              <a:extLst>
                <a:ext uri="{FF2B5EF4-FFF2-40B4-BE49-F238E27FC236}">
                  <a16:creationId xmlns:a16="http://schemas.microsoft.com/office/drawing/2014/main" id="{8568E81F-22AF-F984-F347-AB370C9D5897}"/>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3" name="Picture 12">
              <a:extLst>
                <a:ext uri="{FF2B5EF4-FFF2-40B4-BE49-F238E27FC236}">
                  <a16:creationId xmlns:a16="http://schemas.microsoft.com/office/drawing/2014/main" id="{049B77A5-9115-FB91-2D94-404BD6F5E6A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12" name="Picture 11">
              <a:extLst>
                <a:ext uri="{FF2B5EF4-FFF2-40B4-BE49-F238E27FC236}">
                  <a16:creationId xmlns:a16="http://schemas.microsoft.com/office/drawing/2014/main" id="{77041D55-BCFD-CBB9-909B-AD589E93B8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F4A8EE10-7726-DAF9-B19F-83BADA0D6CD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1296375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52821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3763441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2252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2765707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67903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6" name="Picture 1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1726082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3560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23" name="Picture 22"/>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2"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4C646B25-2F2A-E21E-AD3E-ED49FECA74A0}"/>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1AABC397-4687-026A-D958-B50903282713}"/>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5" name="Picture 4">
              <a:extLst>
                <a:ext uri="{FF2B5EF4-FFF2-40B4-BE49-F238E27FC236}">
                  <a16:creationId xmlns:a16="http://schemas.microsoft.com/office/drawing/2014/main" id="{FF6D1545-04AD-28EE-C02F-4C968208848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6" name="Picture 5">
              <a:extLst>
                <a:ext uri="{FF2B5EF4-FFF2-40B4-BE49-F238E27FC236}">
                  <a16:creationId xmlns:a16="http://schemas.microsoft.com/office/drawing/2014/main" id="{61BC6AA3-44DF-4C42-8E70-A62B4482629B}"/>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05A84840-546E-7533-3430-C21AA23C1A0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4083539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99058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6"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F94328BA-396E-7EB6-AC22-F4673D9D5816}"/>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34AAF8F6-8212-DA96-4CDE-FF3B2F504DAD}"/>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5" name="Picture 4">
              <a:extLst>
                <a:ext uri="{FF2B5EF4-FFF2-40B4-BE49-F238E27FC236}">
                  <a16:creationId xmlns:a16="http://schemas.microsoft.com/office/drawing/2014/main" id="{F8BEF624-4DCF-B0D4-4622-57F94066302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6" name="Picture 5">
              <a:extLst>
                <a:ext uri="{FF2B5EF4-FFF2-40B4-BE49-F238E27FC236}">
                  <a16:creationId xmlns:a16="http://schemas.microsoft.com/office/drawing/2014/main" id="{A85CD046-6D23-0E31-579E-670F8C6B5087}"/>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D0A03421-CB84-A232-6AA9-CDA714D1DBC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920008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67903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6" name="Picture 1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53749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CD8754D1-EF25-3FDB-D9C2-1764D80D1BC0}"/>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40E57D76-D868-A805-78DF-82ED08385814}"/>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5" name="Picture 4">
              <a:extLst>
                <a:ext uri="{FF2B5EF4-FFF2-40B4-BE49-F238E27FC236}">
                  <a16:creationId xmlns:a16="http://schemas.microsoft.com/office/drawing/2014/main" id="{39B5269B-F573-F47F-76D3-5323F6B5D79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6" name="Picture 5">
              <a:extLst>
                <a:ext uri="{FF2B5EF4-FFF2-40B4-BE49-F238E27FC236}">
                  <a16:creationId xmlns:a16="http://schemas.microsoft.com/office/drawing/2014/main" id="{50B8BF70-D4A2-6260-DC43-6CB360C3140A}"/>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9" name="Picture 18" descr="A picture containing text&#10;&#10;Description automatically generated">
              <a:extLst>
                <a:ext uri="{FF2B5EF4-FFF2-40B4-BE49-F238E27FC236}">
                  <a16:creationId xmlns:a16="http://schemas.microsoft.com/office/drawing/2014/main" id="{3BC1D6D7-77E3-3247-F151-4D874FAC805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498802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0330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002060"/>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3097655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9450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1524" y="1310"/>
            <a:ext cx="4088312" cy="6856690"/>
          </a:xfrm>
          <a:custGeom>
            <a:avLst/>
            <a:gdLst>
              <a:gd name="connsiteX0" fmla="*/ 0 w 4088312"/>
              <a:gd name="connsiteY0" fmla="*/ 0 h 6856690"/>
              <a:gd name="connsiteX1" fmla="*/ 3264933 w 4088312"/>
              <a:gd name="connsiteY1" fmla="*/ 0 h 6856690"/>
              <a:gd name="connsiteX2" fmla="*/ 4088312 w 4088312"/>
              <a:gd name="connsiteY2" fmla="*/ 3429000 h 6856690"/>
              <a:gd name="connsiteX3" fmla="*/ 3265248 w 4088312"/>
              <a:gd name="connsiteY3" fmla="*/ 6856690 h 6856690"/>
              <a:gd name="connsiteX4" fmla="*/ 0 w 4088312"/>
              <a:gd name="connsiteY4" fmla="*/ 6856690 h 685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6690">
                <a:moveTo>
                  <a:pt x="0" y="0"/>
                </a:moveTo>
                <a:lnTo>
                  <a:pt x="3264933" y="0"/>
                </a:lnTo>
                <a:lnTo>
                  <a:pt x="4088312" y="3429000"/>
                </a:lnTo>
                <a:lnTo>
                  <a:pt x="3265248" y="6856690"/>
                </a:lnTo>
                <a:lnTo>
                  <a:pt x="0" y="6856690"/>
                </a:lnTo>
                <a:close/>
              </a:path>
            </a:pathLst>
          </a:custGeom>
        </p:spPr>
      </p:pic>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720DECF2-9651-9E68-FB75-7EFC765F6221}"/>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08EB074C-7180-9E29-EBEC-74C293A073D2}"/>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6A222DCF-B3B7-3F43-AA31-BD4BE93F4D1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64EAAE73-D920-C338-6702-83A67D158190}"/>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6284B5DE-34EF-B3F3-5923-C6B9D16FC9A8}"/>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2753682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88392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002060"/>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2164814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7661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8" name="Group 7">
            <a:extLst>
              <a:ext uri="{FF2B5EF4-FFF2-40B4-BE49-F238E27FC236}">
                <a16:creationId xmlns:a16="http://schemas.microsoft.com/office/drawing/2014/main" id="{BBE041EF-3279-0A60-C197-4F32FF4D16AC}"/>
              </a:ext>
            </a:extLst>
          </p:cNvPr>
          <p:cNvGrpSpPr/>
          <p:nvPr userDrawn="1"/>
        </p:nvGrpSpPr>
        <p:grpSpPr>
          <a:xfrm>
            <a:off x="7963242" y="6127738"/>
            <a:ext cx="3510005" cy="644584"/>
            <a:chOff x="7963242" y="6127738"/>
            <a:chExt cx="3510005" cy="644584"/>
          </a:xfrm>
        </p:grpSpPr>
        <p:sp>
          <p:nvSpPr>
            <p:cNvPr id="10" name="Rectangle 9">
              <a:extLst>
                <a:ext uri="{FF2B5EF4-FFF2-40B4-BE49-F238E27FC236}">
                  <a16:creationId xmlns:a16="http://schemas.microsoft.com/office/drawing/2014/main" id="{906847C9-3065-1EDC-A641-203567C839AE}"/>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a:extLst>
                <a:ext uri="{FF2B5EF4-FFF2-40B4-BE49-F238E27FC236}">
                  <a16:creationId xmlns:a16="http://schemas.microsoft.com/office/drawing/2014/main" id="{E3CFEF09-5976-1400-027F-8F2A5B599CB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14" name="Picture 13">
              <a:extLst>
                <a:ext uri="{FF2B5EF4-FFF2-40B4-BE49-F238E27FC236}">
                  <a16:creationId xmlns:a16="http://schemas.microsoft.com/office/drawing/2014/main" id="{25521E30-C12E-4915-ACA1-C21888E1EFB7}"/>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8D949A8D-8E2E-0778-CD7C-284E74757D65}"/>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281754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00553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1971682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23729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98FD0839-B91E-3299-3917-C5BDAA4051C8}"/>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4B940503-DF83-412B-2431-7E7DE900C6F4}"/>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FA975E6D-64D6-E43D-8F7D-1AE0025FD0D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3A9BF35A-52EA-9683-6919-B0C003481EC2}"/>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56A959AA-3AA8-CA90-3731-871C685AC6A4}"/>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1720647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69934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394015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7996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3" name="Group 2">
            <a:extLst>
              <a:ext uri="{FF2B5EF4-FFF2-40B4-BE49-F238E27FC236}">
                <a16:creationId xmlns:a16="http://schemas.microsoft.com/office/drawing/2014/main" id="{CF1253AB-92B0-F13F-2800-665CEB2ED931}"/>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4E0CB050-39C9-FF1B-DB9B-CAE9284CEEDD}"/>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B664E084-467D-6215-C6C1-8768D903B78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37A74B3C-0970-114C-F01D-9FE63F1FB1B0}"/>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2DDF0CDD-703A-50B6-A3A7-8D0CCEC3B18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282591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97509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41647425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3560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23" name="Picture 22"/>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2"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4C646B25-2F2A-E21E-AD3E-ED49FECA74A0}"/>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1AABC397-4687-026A-D958-B50903282713}"/>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5" name="Picture 4">
              <a:extLst>
                <a:ext uri="{FF2B5EF4-FFF2-40B4-BE49-F238E27FC236}">
                  <a16:creationId xmlns:a16="http://schemas.microsoft.com/office/drawing/2014/main" id="{FF6D1545-04AD-28EE-C02F-4C968208848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6" name="Picture 5">
              <a:extLst>
                <a:ext uri="{FF2B5EF4-FFF2-40B4-BE49-F238E27FC236}">
                  <a16:creationId xmlns:a16="http://schemas.microsoft.com/office/drawing/2014/main" id="{61BC6AA3-44DF-4C42-8E70-A62B4482629B}"/>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05A84840-546E-7533-3430-C21AA23C1A0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B5A07-DCBD-F11B-6FCE-F28C632AD9A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484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EEADA-4AD8-82A3-7A34-577FD173CA77}"/>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4B5AF603-271D-AB08-6C5A-D17F30BB277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967AF04-F868-E3DD-6285-A10FADE23DF1}"/>
              </a:ext>
            </a:extLst>
          </p:cNvPr>
          <p:cNvSpPr>
            <a:spLocks noGrp="1"/>
          </p:cNvSpPr>
          <p:nvPr>
            <p:ph type="dt" sz="half" idx="10"/>
          </p:nvPr>
        </p:nvSpPr>
        <p:spPr/>
        <p:txBody>
          <a:bodyPr/>
          <a:lstStyle/>
          <a:p>
            <a:fld id="{F2DB4C15-4314-4046-A1A4-428411707422}" type="datetimeFigureOut">
              <a:rPr lang="en-US" smtClean="0"/>
              <a:t>9/13/23</a:t>
            </a:fld>
            <a:endParaRPr lang="en-US"/>
          </a:p>
        </p:txBody>
      </p:sp>
      <p:sp>
        <p:nvSpPr>
          <p:cNvPr id="5" name="Footer Placeholder 4">
            <a:extLst>
              <a:ext uri="{FF2B5EF4-FFF2-40B4-BE49-F238E27FC236}">
                <a16:creationId xmlns:a16="http://schemas.microsoft.com/office/drawing/2014/main" id="{DDC72FA8-059B-4F5A-8727-4E6CB1DDCE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BA0CB0-584C-C0ED-91FB-0508D8708046}"/>
              </a:ext>
            </a:extLst>
          </p:cNvPr>
          <p:cNvSpPr>
            <a:spLocks noGrp="1"/>
          </p:cNvSpPr>
          <p:nvPr>
            <p:ph type="sldNum" sz="quarter" idx="12"/>
          </p:nvPr>
        </p:nvSpPr>
        <p:spPr/>
        <p:txBody>
          <a:bodyPr/>
          <a:lstStyle/>
          <a:p>
            <a:fld id="{5A9AA826-F30F-764E-A98A-390707CAD550}" type="slidenum">
              <a:rPr lang="en-US" smtClean="0"/>
              <a:t>‹#›</a:t>
            </a:fld>
            <a:endParaRPr lang="en-US"/>
          </a:p>
        </p:txBody>
      </p:sp>
    </p:spTree>
    <p:extLst>
      <p:ext uri="{BB962C8B-B14F-4D97-AF65-F5344CB8AC3E}">
        <p14:creationId xmlns:p14="http://schemas.microsoft.com/office/powerpoint/2010/main" val="21530753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43311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24" name="Picture 23">
            <a:extLst>
              <a:ext uri="{FF2B5EF4-FFF2-40B4-BE49-F238E27FC236}">
                <a16:creationId xmlns:a16="http://schemas.microsoft.com/office/drawing/2014/main" id="{9C37CEC2-F9C0-431A-9F8F-8501AC8EE328}"/>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bwMode="ltGray">
          <a:xfrm>
            <a:off x="0" y="0"/>
            <a:ext cx="12192000" cy="4406900"/>
          </a:xfrm>
          <a:prstGeom prst="rect">
            <a:avLst/>
          </a:prstGeom>
        </p:spPr>
      </p:pic>
      <p:sp>
        <p:nvSpPr>
          <p:cNvPr id="8" name="Rectangle 7">
            <a:extLst>
              <a:ext uri="{FF2B5EF4-FFF2-40B4-BE49-F238E27FC236}">
                <a16:creationId xmlns:a16="http://schemas.microsoft.com/office/drawing/2014/main" id="{2FA224E0-44DF-9944-C205-47C8909A9BA5}"/>
              </a:ext>
            </a:extLst>
          </p:cNvPr>
          <p:cNvSpPr/>
          <p:nvPr userDrawn="1"/>
        </p:nvSpPr>
        <p:spPr>
          <a:xfrm>
            <a:off x="0" y="5328799"/>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 name="Text Placeholder 45">
            <a:extLst>
              <a:ext uri="{FF2B5EF4-FFF2-40B4-BE49-F238E27FC236}">
                <a16:creationId xmlns:a16="http://schemas.microsoft.com/office/drawing/2014/main" id="{45528603-D88C-E99C-0BDA-B5FFBA12694E}"/>
              </a:ext>
            </a:extLst>
          </p:cNvPr>
          <p:cNvSpPr>
            <a:spLocks noGrp="1"/>
          </p:cNvSpPr>
          <p:nvPr>
            <p:ph type="body" sz="quarter" idx="11" hasCustomPrompt="1"/>
          </p:nvPr>
        </p:nvSpPr>
        <p:spPr>
          <a:xfrm>
            <a:off x="4027055" y="5674683"/>
            <a:ext cx="7769762" cy="215444"/>
          </a:xfrm>
        </p:spPr>
        <p:txBody>
          <a:bodyPr/>
          <a:lstStyle>
            <a:lvl1pPr algn="r">
              <a:defRPr sz="1400">
                <a:solidFill>
                  <a:srgbClr val="002060"/>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Date</a:t>
            </a:r>
          </a:p>
        </p:txBody>
      </p:sp>
      <p:sp>
        <p:nvSpPr>
          <p:cNvPr id="10" name="Text Placeholder 43">
            <a:extLst>
              <a:ext uri="{FF2B5EF4-FFF2-40B4-BE49-F238E27FC236}">
                <a16:creationId xmlns:a16="http://schemas.microsoft.com/office/drawing/2014/main" id="{3687E06A-6CC0-D5F5-9070-EF9A2448CEAF}"/>
              </a:ext>
            </a:extLst>
          </p:cNvPr>
          <p:cNvSpPr>
            <a:spLocks noGrp="1"/>
          </p:cNvSpPr>
          <p:nvPr>
            <p:ph type="body" sz="quarter" idx="10" hasCustomPrompt="1"/>
          </p:nvPr>
        </p:nvSpPr>
        <p:spPr>
          <a:xfrm>
            <a:off x="4027055" y="5242718"/>
            <a:ext cx="7769762" cy="307777"/>
          </a:xfrm>
        </p:spPr>
        <p:txBody>
          <a:bodyPr/>
          <a:lstStyle>
            <a:lvl1pPr algn="r">
              <a:defRPr sz="2000">
                <a:solidFill>
                  <a:srgbClr val="002060"/>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a:t>Subtitle</a:t>
            </a:r>
          </a:p>
        </p:txBody>
      </p:sp>
      <p:sp>
        <p:nvSpPr>
          <p:cNvPr id="15" name="Title 4">
            <a:extLst>
              <a:ext uri="{FF2B5EF4-FFF2-40B4-BE49-F238E27FC236}">
                <a16:creationId xmlns:a16="http://schemas.microsoft.com/office/drawing/2014/main" id="{6114FBB0-AD38-9B7E-DCCD-45867431489B}"/>
              </a:ext>
            </a:extLst>
          </p:cNvPr>
          <p:cNvSpPr>
            <a:spLocks noGrp="1"/>
          </p:cNvSpPr>
          <p:nvPr userDrawn="1">
            <p:ph type="title"/>
          </p:nvPr>
        </p:nvSpPr>
        <p:spPr>
          <a:xfrm>
            <a:off x="4027055" y="4509132"/>
            <a:ext cx="7769762" cy="609398"/>
          </a:xfrm>
        </p:spPr>
        <p:txBody>
          <a:bodyPr vert="horz" anchor="b" anchorCtr="0">
            <a:noAutofit/>
          </a:bodyPr>
          <a:lstStyle>
            <a:lvl1pPr algn="r">
              <a:defRPr sz="4400">
                <a:solidFill>
                  <a:srgbClr val="002060"/>
                </a:solidFill>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p>
        </p:txBody>
      </p:sp>
      <p:grpSp>
        <p:nvGrpSpPr>
          <p:cNvPr id="2" name="Group 1">
            <a:extLst>
              <a:ext uri="{FF2B5EF4-FFF2-40B4-BE49-F238E27FC236}">
                <a16:creationId xmlns:a16="http://schemas.microsoft.com/office/drawing/2014/main" id="{96FF1567-4822-8497-B88A-2DF0D54B3F00}"/>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3C4AC96A-41A0-4998-C668-22ADFABFC704}"/>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7" name="Picture 6">
              <a:extLst>
                <a:ext uri="{FF2B5EF4-FFF2-40B4-BE49-F238E27FC236}">
                  <a16:creationId xmlns:a16="http://schemas.microsoft.com/office/drawing/2014/main" id="{75B820F8-9EE0-477D-1474-0EA631D7599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11" name="Picture 10">
              <a:extLst>
                <a:ext uri="{FF2B5EF4-FFF2-40B4-BE49-F238E27FC236}">
                  <a16:creationId xmlns:a16="http://schemas.microsoft.com/office/drawing/2014/main" id="{AD9C7968-0675-DBB4-F893-AFC65FD695EB}"/>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0871302F-B8CE-E116-05D2-C800B6C9387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730061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0964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457079" y="421353"/>
            <a:ext cx="11082528" cy="332399"/>
          </a:xfr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grpSp>
        <p:nvGrpSpPr>
          <p:cNvPr id="2" name="Group 1">
            <a:extLst>
              <a:ext uri="{FF2B5EF4-FFF2-40B4-BE49-F238E27FC236}">
                <a16:creationId xmlns:a16="http://schemas.microsoft.com/office/drawing/2014/main" id="{032FE39D-CBB3-EE39-B7D6-3AB3BCD4A3F3}"/>
              </a:ext>
            </a:extLst>
          </p:cNvPr>
          <p:cNvGrpSpPr/>
          <p:nvPr userDrawn="1"/>
        </p:nvGrpSpPr>
        <p:grpSpPr>
          <a:xfrm>
            <a:off x="7963242" y="6127738"/>
            <a:ext cx="3510005" cy="644584"/>
            <a:chOff x="7963242" y="6127738"/>
            <a:chExt cx="3510005" cy="644584"/>
          </a:xfrm>
        </p:grpSpPr>
        <p:sp>
          <p:nvSpPr>
            <p:cNvPr id="10" name="Rectangle 9">
              <a:extLst>
                <a:ext uri="{FF2B5EF4-FFF2-40B4-BE49-F238E27FC236}">
                  <a16:creationId xmlns:a16="http://schemas.microsoft.com/office/drawing/2014/main" id="{8568E81F-22AF-F984-F347-AB370C9D5897}"/>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3" name="Picture 12">
              <a:extLst>
                <a:ext uri="{FF2B5EF4-FFF2-40B4-BE49-F238E27FC236}">
                  <a16:creationId xmlns:a16="http://schemas.microsoft.com/office/drawing/2014/main" id="{049B77A5-9115-FB91-2D94-404BD6F5E6A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12" name="Picture 11">
              <a:extLst>
                <a:ext uri="{FF2B5EF4-FFF2-40B4-BE49-F238E27FC236}">
                  <a16:creationId xmlns:a16="http://schemas.microsoft.com/office/drawing/2014/main" id="{77041D55-BCFD-CBB9-909B-AD589E93B8F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F4A8EE10-7726-DAF9-B19F-83BADA0D6CD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2383874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52821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1394530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2252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3"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3147858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67903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6" name="Picture 1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4"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1052722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3560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23" name="Picture 22"/>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2"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4C646B25-2F2A-E21E-AD3E-ED49FECA74A0}"/>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1AABC397-4687-026A-D958-B50903282713}"/>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5" name="Picture 4">
              <a:extLst>
                <a:ext uri="{FF2B5EF4-FFF2-40B4-BE49-F238E27FC236}">
                  <a16:creationId xmlns:a16="http://schemas.microsoft.com/office/drawing/2014/main" id="{FF6D1545-04AD-28EE-C02F-4C968208848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6" name="Picture 5">
              <a:extLst>
                <a:ext uri="{FF2B5EF4-FFF2-40B4-BE49-F238E27FC236}">
                  <a16:creationId xmlns:a16="http://schemas.microsoft.com/office/drawing/2014/main" id="{61BC6AA3-44DF-4C42-8E70-A62B4482629B}"/>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05A84840-546E-7533-3430-C21AA23C1A0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575418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99058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6"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F94328BA-396E-7EB6-AC22-F4673D9D5816}"/>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34AAF8F6-8212-DA96-4CDE-FF3B2F504DAD}"/>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5" name="Picture 4">
              <a:extLst>
                <a:ext uri="{FF2B5EF4-FFF2-40B4-BE49-F238E27FC236}">
                  <a16:creationId xmlns:a16="http://schemas.microsoft.com/office/drawing/2014/main" id="{F8BEF624-4DCF-B0D4-4622-57F94066302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6" name="Picture 5">
              <a:extLst>
                <a:ext uri="{FF2B5EF4-FFF2-40B4-BE49-F238E27FC236}">
                  <a16:creationId xmlns:a16="http://schemas.microsoft.com/office/drawing/2014/main" id="{A85CD046-6D23-0E31-579E-670F8C6B5087}"/>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D0A03421-CB84-A232-6AA9-CDA714D1DBC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2513608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53749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CD8754D1-EF25-3FDB-D9C2-1764D80D1BC0}"/>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40E57D76-D868-A805-78DF-82ED08385814}"/>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5" name="Picture 4">
              <a:extLst>
                <a:ext uri="{FF2B5EF4-FFF2-40B4-BE49-F238E27FC236}">
                  <a16:creationId xmlns:a16="http://schemas.microsoft.com/office/drawing/2014/main" id="{39B5269B-F573-F47F-76D3-5323F6B5D79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6" name="Picture 5">
              <a:extLst>
                <a:ext uri="{FF2B5EF4-FFF2-40B4-BE49-F238E27FC236}">
                  <a16:creationId xmlns:a16="http://schemas.microsoft.com/office/drawing/2014/main" id="{50B8BF70-D4A2-6260-DC43-6CB360C3140A}"/>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9" name="Picture 18" descr="A picture containing text&#10;&#10;Description automatically generated">
              <a:extLst>
                <a:ext uri="{FF2B5EF4-FFF2-40B4-BE49-F238E27FC236}">
                  <a16:creationId xmlns:a16="http://schemas.microsoft.com/office/drawing/2014/main" id="{3BC1D6D7-77E3-3247-F151-4D874FAC805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1196997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99058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6"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F94328BA-396E-7EB6-AC22-F4673D9D5816}"/>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34AAF8F6-8212-DA96-4CDE-FF3B2F504DAD}"/>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5" name="Picture 4">
              <a:extLst>
                <a:ext uri="{FF2B5EF4-FFF2-40B4-BE49-F238E27FC236}">
                  <a16:creationId xmlns:a16="http://schemas.microsoft.com/office/drawing/2014/main" id="{F8BEF624-4DCF-B0D4-4622-57F94066302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6" name="Picture 5">
              <a:extLst>
                <a:ext uri="{FF2B5EF4-FFF2-40B4-BE49-F238E27FC236}">
                  <a16:creationId xmlns:a16="http://schemas.microsoft.com/office/drawing/2014/main" id="{A85CD046-6D23-0E31-579E-670F8C6B5087}"/>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7" name="Picture 6" descr="A picture containing text&#10;&#10;Description automatically generated">
              <a:extLst>
                <a:ext uri="{FF2B5EF4-FFF2-40B4-BE49-F238E27FC236}">
                  <a16:creationId xmlns:a16="http://schemas.microsoft.com/office/drawing/2014/main" id="{D0A03421-CB84-A232-6AA9-CDA714D1DBC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0330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002060"/>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2767386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9450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1524" y="1310"/>
            <a:ext cx="4088312" cy="6856690"/>
          </a:xfrm>
          <a:custGeom>
            <a:avLst/>
            <a:gdLst>
              <a:gd name="connsiteX0" fmla="*/ 0 w 4088312"/>
              <a:gd name="connsiteY0" fmla="*/ 0 h 6856690"/>
              <a:gd name="connsiteX1" fmla="*/ 3264933 w 4088312"/>
              <a:gd name="connsiteY1" fmla="*/ 0 h 6856690"/>
              <a:gd name="connsiteX2" fmla="*/ 4088312 w 4088312"/>
              <a:gd name="connsiteY2" fmla="*/ 3429000 h 6856690"/>
              <a:gd name="connsiteX3" fmla="*/ 3265248 w 4088312"/>
              <a:gd name="connsiteY3" fmla="*/ 6856690 h 6856690"/>
              <a:gd name="connsiteX4" fmla="*/ 0 w 4088312"/>
              <a:gd name="connsiteY4" fmla="*/ 6856690 h 685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6690">
                <a:moveTo>
                  <a:pt x="0" y="0"/>
                </a:moveTo>
                <a:lnTo>
                  <a:pt x="3264933" y="0"/>
                </a:lnTo>
                <a:lnTo>
                  <a:pt x="4088312" y="3429000"/>
                </a:lnTo>
                <a:lnTo>
                  <a:pt x="3265248" y="6856690"/>
                </a:lnTo>
                <a:lnTo>
                  <a:pt x="0" y="6856690"/>
                </a:lnTo>
                <a:close/>
              </a:path>
            </a:pathLst>
          </a:custGeom>
        </p:spPr>
      </p:pic>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720DECF2-9651-9E68-FB75-7EFC765F6221}"/>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08EB074C-7180-9E29-EBEC-74C293A073D2}"/>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6A222DCF-B3B7-3F43-AA31-BD4BE93F4D1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64EAAE73-D920-C338-6702-83A67D158190}"/>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6284B5DE-34EF-B3F3-5923-C6B9D16FC9A8}"/>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2649658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88392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002060"/>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27626954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7661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8" name="Group 7">
            <a:extLst>
              <a:ext uri="{FF2B5EF4-FFF2-40B4-BE49-F238E27FC236}">
                <a16:creationId xmlns:a16="http://schemas.microsoft.com/office/drawing/2014/main" id="{BBE041EF-3279-0A60-C197-4F32FF4D16AC}"/>
              </a:ext>
            </a:extLst>
          </p:cNvPr>
          <p:cNvGrpSpPr/>
          <p:nvPr userDrawn="1"/>
        </p:nvGrpSpPr>
        <p:grpSpPr>
          <a:xfrm>
            <a:off x="7963242" y="6127738"/>
            <a:ext cx="3510005" cy="644584"/>
            <a:chOff x="7963242" y="6127738"/>
            <a:chExt cx="3510005" cy="644584"/>
          </a:xfrm>
        </p:grpSpPr>
        <p:sp>
          <p:nvSpPr>
            <p:cNvPr id="10" name="Rectangle 9">
              <a:extLst>
                <a:ext uri="{FF2B5EF4-FFF2-40B4-BE49-F238E27FC236}">
                  <a16:creationId xmlns:a16="http://schemas.microsoft.com/office/drawing/2014/main" id="{906847C9-3065-1EDC-A641-203567C839AE}"/>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2" name="Picture 11">
              <a:extLst>
                <a:ext uri="{FF2B5EF4-FFF2-40B4-BE49-F238E27FC236}">
                  <a16:creationId xmlns:a16="http://schemas.microsoft.com/office/drawing/2014/main" id="{E3CFEF09-5976-1400-027F-8F2A5B599CB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14" name="Picture 13">
              <a:extLst>
                <a:ext uri="{FF2B5EF4-FFF2-40B4-BE49-F238E27FC236}">
                  <a16:creationId xmlns:a16="http://schemas.microsoft.com/office/drawing/2014/main" id="{25521E30-C12E-4915-ACA1-C21888E1EFB7}"/>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8D949A8D-8E2E-0778-CD7C-284E74757D65}"/>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2956182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00553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1516905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23729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98FD0839-B91E-3299-3917-C5BDAA4051C8}"/>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4B940503-DF83-412B-2431-7E7DE900C6F4}"/>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FA975E6D-64D6-E43D-8F7D-1AE0025FD0D3}"/>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3A9BF35A-52EA-9683-6919-B0C003481EC2}"/>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56A959AA-3AA8-CA90-3731-871C685AC6A4}"/>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233057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69934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002060"/>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817878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7996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EBF889A-EF65-41C8-9552-3732E3637AF9}"/>
              </a:ext>
            </a:extLst>
          </p:cNvPr>
          <p:cNvPicPr>
            <a:picLocks/>
          </p:cNvPicPr>
          <p:nvPr userDrawn="1"/>
        </p:nvPicPr>
        <p:blipFill>
          <a:blip r:embed="rId6" cstate="hqprint">
            <a:extLst>
              <a:ext uri="{28A0092B-C50C-407E-A947-70E740481C1C}">
                <a14:useLocalDpi xmlns:a14="http://schemas.microsoft.com/office/drawing/2010/main"/>
              </a:ext>
            </a:extLst>
          </a:blip>
          <a:srcRect/>
          <a:stretch>
            <a:fillRect/>
          </a:stretch>
        </p:blipFill>
        <p:spPr>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3" name="Group 2">
            <a:extLst>
              <a:ext uri="{FF2B5EF4-FFF2-40B4-BE49-F238E27FC236}">
                <a16:creationId xmlns:a16="http://schemas.microsoft.com/office/drawing/2014/main" id="{CF1253AB-92B0-F13F-2800-665CEB2ED931}"/>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4E0CB050-39C9-FF1B-DB9B-CAE9284CEEDD}"/>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B664E084-467D-6215-C6C1-8768D903B78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37A74B3C-0970-114C-F01D-9FE63F1FB1B0}"/>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2DDF0CDD-703A-50B6-A3A7-8D0CCEC3B180}"/>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2328942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97509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1337547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5668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CEBF889A-EF65-41C8-9552-3732E3637AF9}"/>
              </a:ext>
            </a:extLst>
          </p:cNvPr>
          <p:cNvPicPr>
            <a:picLocks/>
          </p:cNvPicPr>
          <p:nvPr userDrawn="1"/>
        </p:nvPicPr>
        <p:blipFill>
          <a:blip r:embed="rId6" cstate="print">
            <a:extLst>
              <a:ext uri="{28A0092B-C50C-407E-A947-70E740481C1C}">
                <a14:useLocalDpi xmlns:a14="http://schemas.microsoft.com/office/drawing/2010/main"/>
              </a:ext>
            </a:extLst>
          </a:blip>
          <a:srcRect/>
          <a:stretch>
            <a:fillRect/>
          </a:stretch>
        </p:blipFill>
        <p:spPr>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p:spPr>
      </p:pic>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pic>
        <p:nvPicPr>
          <p:cNvPr id="12" name="Picture 28" descr="World Health Organization Logo, history, meaning, symbol, PNG">
            <a:extLst>
              <a:ext uri="{FF2B5EF4-FFF2-40B4-BE49-F238E27FC236}">
                <a16:creationId xmlns:a16="http://schemas.microsoft.com/office/drawing/2014/main" id="{18D6E33A-A789-492B-A65A-52B415643A26}"/>
              </a:ext>
            </a:extLst>
          </p:cNvPr>
          <p:cNvPicPr>
            <a:picLocks noChangeAspect="1" noChangeArrowheads="1"/>
          </p:cNvPicPr>
          <p:nvPr userDrawn="1"/>
        </p:nvPicPr>
        <p:blipFill rotWithShape="1">
          <a:blip r:embed="rId8" cstate="print">
            <a:extLst>
              <a:ext uri="{28A0092B-C50C-407E-A947-70E740481C1C}">
                <a14:useLocalDpi xmlns:a14="http://schemas.microsoft.com/office/drawing/2010/main"/>
              </a:ext>
            </a:extLst>
          </a:blip>
          <a:srcRect/>
          <a:stretch/>
        </p:blipFill>
        <p:spPr bwMode="auto">
          <a:xfrm>
            <a:off x="10366121" y="6337913"/>
            <a:ext cx="942594" cy="336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62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53749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2" name="Group 1">
            <a:extLst>
              <a:ext uri="{FF2B5EF4-FFF2-40B4-BE49-F238E27FC236}">
                <a16:creationId xmlns:a16="http://schemas.microsoft.com/office/drawing/2014/main" id="{CD8754D1-EF25-3FDB-D9C2-1764D80D1BC0}"/>
              </a:ext>
            </a:extLst>
          </p:cNvPr>
          <p:cNvGrpSpPr/>
          <p:nvPr userDrawn="1"/>
        </p:nvGrpSpPr>
        <p:grpSpPr>
          <a:xfrm>
            <a:off x="7963242" y="6127738"/>
            <a:ext cx="3510005" cy="644584"/>
            <a:chOff x="7963242" y="6127738"/>
            <a:chExt cx="3510005" cy="644584"/>
          </a:xfrm>
        </p:grpSpPr>
        <p:sp>
          <p:nvSpPr>
            <p:cNvPr id="4" name="Rectangle 3">
              <a:extLst>
                <a:ext uri="{FF2B5EF4-FFF2-40B4-BE49-F238E27FC236}">
                  <a16:creationId xmlns:a16="http://schemas.microsoft.com/office/drawing/2014/main" id="{40E57D76-D868-A805-78DF-82ED08385814}"/>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5" name="Picture 4">
              <a:extLst>
                <a:ext uri="{FF2B5EF4-FFF2-40B4-BE49-F238E27FC236}">
                  <a16:creationId xmlns:a16="http://schemas.microsoft.com/office/drawing/2014/main" id="{39B5269B-F573-F47F-76D3-5323F6B5D79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6" name="Picture 5">
              <a:extLst>
                <a:ext uri="{FF2B5EF4-FFF2-40B4-BE49-F238E27FC236}">
                  <a16:creationId xmlns:a16="http://schemas.microsoft.com/office/drawing/2014/main" id="{50B8BF70-D4A2-6260-DC43-6CB360C3140A}"/>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19" name="Picture 18" descr="A picture containing text&#10;&#10;Description automatically generated">
              <a:extLst>
                <a:ext uri="{FF2B5EF4-FFF2-40B4-BE49-F238E27FC236}">
                  <a16:creationId xmlns:a16="http://schemas.microsoft.com/office/drawing/2014/main" id="{3BC1D6D7-77E3-3247-F151-4D874FAC805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542017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8 by Boston Consulting Group. All rights reserved.</a:t>
            </a:r>
          </a:p>
        </p:txBody>
      </p:sp>
    </p:spTree>
    <p:extLst>
      <p:ext uri="{BB962C8B-B14F-4D97-AF65-F5344CB8AC3E}">
        <p14:creationId xmlns:p14="http://schemas.microsoft.com/office/powerpoint/2010/main" val="4266857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6312A8-FDCA-48F9-B203-D1FF5073ED03}"/>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mn-lt"/>
              <a:ea typeface="+mn-ea"/>
              <a:cs typeface="+mn-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3 by Boston Consulting Group. All rights reserved.</a:t>
            </a:r>
          </a:p>
        </p:txBody>
      </p:sp>
      <p:sp>
        <p:nvSpPr>
          <p:cNvPr id="8" name="Title 7"/>
          <p:cNvSpPr>
            <a:spLocks noGrp="1"/>
          </p:cNvSpPr>
          <p:nvPr>
            <p:ph type="title" hasCustomPrompt="1"/>
          </p:nvPr>
        </p:nvSpPr>
        <p:spPr>
          <a:xfrm>
            <a:off x="629325" y="290640"/>
            <a:ext cx="10934025" cy="332399"/>
          </a:xfrm>
        </p:spPr>
        <p:txBody>
          <a:bodyPr vert="horz"/>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910524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cSld name="D. Blank green">
    <p:bg>
      <p:bgPr>
        <a:gradFill>
          <a:gsLst>
            <a:gs pos="0">
              <a:srgbClr val="0077A0"/>
            </a:gs>
            <a:gs pos="28000">
              <a:srgbClr val="005180"/>
            </a:gs>
            <a:gs pos="85000">
              <a:srgbClr val="002E62"/>
            </a:gs>
          </a:gsLst>
          <a:lin ang="4200000" scaled="0"/>
        </a:gradFill>
        <a:effectLst/>
      </p:bgPr>
    </p:bg>
    <p:spTree>
      <p:nvGrpSpPr>
        <p:cNvPr id="1" name=""/>
        <p:cNvGrpSpPr/>
        <p:nvPr/>
      </p:nvGrpSpPr>
      <p:grpSpPr>
        <a:xfrm>
          <a:off x="0" y="0"/>
          <a:ext cx="0" cy="0"/>
          <a:chOff x="0" y="0"/>
          <a:chExt cx="0" cy="0"/>
        </a:xfrm>
      </p:grpSpPr>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07200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matchingName="Title Slide 1">
  <p:cSld name="Title Slide 1">
    <p:bg>
      <p:bgPr>
        <a:blipFill rotWithShape="1">
          <a:blip r:embed="rId2">
            <a:alphaModFix/>
          </a:blip>
          <a:tile tx="0" ty="444500" sx="50000" sy="50000" flip="none" algn="tl"/>
        </a:blipFill>
        <a:effectLst/>
      </p:bgPr>
    </p:bg>
    <p:spTree>
      <p:nvGrpSpPr>
        <p:cNvPr id="1" name="Shape 9"/>
        <p:cNvGrpSpPr/>
        <p:nvPr/>
      </p:nvGrpSpPr>
      <p:grpSpPr>
        <a:xfrm>
          <a:off x="0" y="0"/>
          <a:ext cx="0" cy="0"/>
          <a:chOff x="0" y="0"/>
          <a:chExt cx="0" cy="0"/>
        </a:xfrm>
      </p:grpSpPr>
      <p:sp>
        <p:nvSpPr>
          <p:cNvPr id="10" name="Google Shape;10;p13"/>
          <p:cNvSpPr/>
          <p:nvPr/>
        </p:nvSpPr>
        <p:spPr>
          <a:xfrm>
            <a:off x="1907059" y="0"/>
            <a:ext cx="8377882" cy="6858000"/>
          </a:xfrm>
          <a:prstGeom prst="rect">
            <a:avLst/>
          </a:prstGeom>
          <a:solidFill>
            <a:schemeClr val="lt1"/>
          </a:solidFill>
          <a:ln>
            <a:noFill/>
          </a:ln>
          <a:effectLst>
            <a:outerShdw blurRad="349625" sx="101512" sy="101512" algn="ctr" rotWithShape="0">
              <a:srgbClr val="000000">
                <a:alpha val="44313"/>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 name="Google Shape;11;p13"/>
          <p:cNvSpPr txBox="1">
            <a:spLocks noGrp="1"/>
          </p:cNvSpPr>
          <p:nvPr>
            <p:ph type="ctrTitle"/>
          </p:nvPr>
        </p:nvSpPr>
        <p:spPr>
          <a:xfrm>
            <a:off x="2514600" y="2852110"/>
            <a:ext cx="7162799" cy="2307480"/>
          </a:xfrm>
          <a:prstGeom prst="rect">
            <a:avLst/>
          </a:prstGeom>
          <a:noFill/>
          <a:ln>
            <a:noFill/>
          </a:ln>
        </p:spPr>
        <p:txBody>
          <a:bodyPr spcFirstLastPara="1" wrap="square" lIns="0" tIns="45700" rIns="91425" bIns="45700" anchor="b" anchorCtr="0">
            <a:noAutofit/>
          </a:bodyPr>
          <a:lstStyle>
            <a:lvl1pPr lvl="0" algn="l">
              <a:lnSpc>
                <a:spcPct val="75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 name="Google Shape;12;p13"/>
          <p:cNvSpPr txBox="1">
            <a:spLocks noGrp="1"/>
          </p:cNvSpPr>
          <p:nvPr>
            <p:ph type="subTitle" idx="1"/>
          </p:nvPr>
        </p:nvSpPr>
        <p:spPr>
          <a:xfrm>
            <a:off x="2514599" y="5257800"/>
            <a:ext cx="7162799" cy="1600200"/>
          </a:xfrm>
          <a:prstGeom prst="rect">
            <a:avLst/>
          </a:prstGeom>
          <a:noFill/>
          <a:ln>
            <a:noFill/>
          </a:ln>
        </p:spPr>
        <p:txBody>
          <a:bodyPr spcFirstLastPara="1" wrap="square" lIns="0" tIns="45700" rIns="91425" bIns="45700" anchor="t" anchorCtr="0">
            <a:normAutofit/>
          </a:bodyPr>
          <a:lstStyle>
            <a:lvl1pPr lvl="0" algn="l">
              <a:lnSpc>
                <a:spcPct val="120000"/>
              </a:lnSpc>
              <a:spcBef>
                <a:spcPts val="1000"/>
              </a:spcBef>
              <a:spcAft>
                <a:spcPts val="0"/>
              </a:spcAft>
              <a:buSzPts val="2640"/>
              <a:buNone/>
              <a:defRPr sz="2400">
                <a:latin typeface="Noto Sans"/>
                <a:ea typeface="Noto Sans"/>
                <a:cs typeface="Noto Sans"/>
                <a:sym typeface="Noto Sans"/>
              </a:defRPr>
            </a:lvl1pPr>
            <a:lvl2pPr lvl="1" algn="ctr">
              <a:lnSpc>
                <a:spcPct val="120000"/>
              </a:lnSpc>
              <a:spcBef>
                <a:spcPts val="500"/>
              </a:spcBef>
              <a:spcAft>
                <a:spcPts val="0"/>
              </a:spcAft>
              <a:buSzPts val="2200"/>
              <a:buNone/>
              <a:defRPr sz="2000"/>
            </a:lvl2pPr>
            <a:lvl3pPr lvl="2" algn="ctr">
              <a:lnSpc>
                <a:spcPct val="120000"/>
              </a:lnSpc>
              <a:spcBef>
                <a:spcPts val="500"/>
              </a:spcBef>
              <a:spcAft>
                <a:spcPts val="0"/>
              </a:spcAft>
              <a:buSzPts val="1980"/>
              <a:buNone/>
              <a:defRPr sz="1800"/>
            </a:lvl3pPr>
            <a:lvl4pPr lvl="3" algn="ctr">
              <a:lnSpc>
                <a:spcPct val="120000"/>
              </a:lnSpc>
              <a:spcBef>
                <a:spcPts val="500"/>
              </a:spcBef>
              <a:spcAft>
                <a:spcPts val="0"/>
              </a:spcAft>
              <a:buSzPts val="1760"/>
              <a:buNone/>
              <a:defRPr sz="1600"/>
            </a:lvl4pPr>
            <a:lvl5pPr lvl="4" algn="ctr">
              <a:lnSpc>
                <a:spcPct val="120000"/>
              </a:lnSpc>
              <a:spcBef>
                <a:spcPts val="500"/>
              </a:spcBef>
              <a:spcAft>
                <a:spcPts val="0"/>
              </a:spcAft>
              <a:buSzPts val="176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13" name="Google Shape;13;p13"/>
          <p:cNvPicPr preferRelativeResize="0"/>
          <p:nvPr/>
        </p:nvPicPr>
        <p:blipFill rotWithShape="1">
          <a:blip r:embed="rId3">
            <a:alphaModFix/>
          </a:blip>
          <a:srcRect/>
          <a:stretch/>
        </p:blipFill>
        <p:spPr>
          <a:xfrm>
            <a:off x="2512541" y="374073"/>
            <a:ext cx="2501586" cy="1154578"/>
          </a:xfrm>
          <a:prstGeom prst="rect">
            <a:avLst/>
          </a:prstGeom>
          <a:noFill/>
          <a:ln>
            <a:noFill/>
          </a:ln>
        </p:spPr>
      </p:pic>
    </p:spTree>
    <p:extLst>
      <p:ext uri="{BB962C8B-B14F-4D97-AF65-F5344CB8AC3E}">
        <p14:creationId xmlns:p14="http://schemas.microsoft.com/office/powerpoint/2010/main" val="35768530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matchingName="End Slide">
  <p:cSld name="End Slide">
    <p:spTree>
      <p:nvGrpSpPr>
        <p:cNvPr id="1" name="Shape 45"/>
        <p:cNvGrpSpPr/>
        <p:nvPr/>
      </p:nvGrpSpPr>
      <p:grpSpPr>
        <a:xfrm>
          <a:off x="0" y="0"/>
          <a:ext cx="0" cy="0"/>
          <a:chOff x="0" y="0"/>
          <a:chExt cx="0" cy="0"/>
        </a:xfrm>
      </p:grpSpPr>
      <p:sp>
        <p:nvSpPr>
          <p:cNvPr id="46" name="Google Shape;46;p23"/>
          <p:cNvSpPr/>
          <p:nvPr/>
        </p:nvSpPr>
        <p:spPr>
          <a:xfrm>
            <a:off x="0" y="5983705"/>
            <a:ext cx="12192000" cy="874295"/>
          </a:xfrm>
          <a:prstGeom prst="rect">
            <a:avLst/>
          </a:prstGeom>
          <a:blipFill rotWithShape="1">
            <a:blip r:embed="rId2">
              <a:alphaModFix/>
            </a:blip>
            <a:tile tx="412750" ty="69850" sx="45000" sy="45000" flip="none" algn="tl"/>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7" name="Google Shape;47;p23"/>
          <p:cNvPicPr preferRelativeResize="0"/>
          <p:nvPr/>
        </p:nvPicPr>
        <p:blipFill rotWithShape="1">
          <a:blip r:embed="rId3">
            <a:alphaModFix/>
          </a:blip>
          <a:srcRect/>
          <a:stretch/>
        </p:blipFill>
        <p:spPr>
          <a:xfrm>
            <a:off x="5500925" y="1262913"/>
            <a:ext cx="1190149" cy="1813561"/>
          </a:xfrm>
          <a:prstGeom prst="rect">
            <a:avLst/>
          </a:prstGeom>
          <a:noFill/>
          <a:ln>
            <a:noFill/>
          </a:ln>
        </p:spPr>
      </p:pic>
    </p:spTree>
    <p:extLst>
      <p:ext uri="{BB962C8B-B14F-4D97-AF65-F5344CB8AC3E}">
        <p14:creationId xmlns:p14="http://schemas.microsoft.com/office/powerpoint/2010/main" val="35402791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61BF2-DD4B-8367-2330-7BBA134CC92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F7BE73-5639-9696-6972-77043E9447D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BA90329-CB5E-AA5F-2116-D3306A9ACC4E}"/>
              </a:ext>
            </a:extLst>
          </p:cNvPr>
          <p:cNvSpPr>
            <a:spLocks noGrp="1"/>
          </p:cNvSpPr>
          <p:nvPr>
            <p:ph type="dt" sz="half" idx="10"/>
          </p:nvPr>
        </p:nvSpPr>
        <p:spPr>
          <a:xfrm>
            <a:off x="838200" y="6356350"/>
            <a:ext cx="2743200" cy="365125"/>
          </a:xfrm>
          <a:prstGeom prst="rect">
            <a:avLst/>
          </a:prstGeom>
        </p:spPr>
        <p:txBody>
          <a:bodyPr/>
          <a:lstStyle/>
          <a:p>
            <a:fld id="{29CF9CF7-D07D-431D-8AF8-63324C7226AA}" type="datetimeFigureOut">
              <a:rPr lang="en-US" smtClean="0"/>
              <a:t>9/13/23</a:t>
            </a:fld>
            <a:endParaRPr lang="en-US"/>
          </a:p>
        </p:txBody>
      </p:sp>
      <p:sp>
        <p:nvSpPr>
          <p:cNvPr id="5" name="Footer Placeholder 4">
            <a:extLst>
              <a:ext uri="{FF2B5EF4-FFF2-40B4-BE49-F238E27FC236}">
                <a16:creationId xmlns:a16="http://schemas.microsoft.com/office/drawing/2014/main" id="{16AEBDB3-DC8F-357C-5A50-7AB567F2DC98}"/>
              </a:ext>
            </a:extLst>
          </p:cNvPr>
          <p:cNvSpPr>
            <a:spLocks noGrp="1"/>
          </p:cNvSpPr>
          <p:nvPr>
            <p:ph type="ftr" sz="quarter" idx="11"/>
          </p:nvPr>
        </p:nvSpPr>
        <p:spPr>
          <a:xfrm>
            <a:off x="2572479" y="6491801"/>
            <a:ext cx="4114800" cy="123111"/>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FAC11EE-32E4-9C06-E94F-04F9421E9550}"/>
              </a:ext>
            </a:extLst>
          </p:cNvPr>
          <p:cNvSpPr>
            <a:spLocks noGrp="1"/>
          </p:cNvSpPr>
          <p:nvPr>
            <p:ph type="sldNum" sz="quarter" idx="12"/>
          </p:nvPr>
        </p:nvSpPr>
        <p:spPr>
          <a:xfrm>
            <a:off x="11587480" y="6491801"/>
            <a:ext cx="147320" cy="123111"/>
          </a:xfrm>
          <a:prstGeom prst="rect">
            <a:avLst/>
          </a:prstGeom>
        </p:spPr>
        <p:txBody>
          <a:bodyPr/>
          <a:lstStyle/>
          <a:p>
            <a:fld id="{8EF06CA7-FD17-4ED9-BB88-8DBABC6E69EA}" type="slidenum">
              <a:rPr lang="en-US" smtClean="0"/>
              <a:t>‹#›</a:t>
            </a:fld>
            <a:endParaRPr lang="en-US"/>
          </a:p>
        </p:txBody>
      </p:sp>
    </p:spTree>
    <p:extLst>
      <p:ext uri="{BB962C8B-B14F-4D97-AF65-F5344CB8AC3E}">
        <p14:creationId xmlns:p14="http://schemas.microsoft.com/office/powerpoint/2010/main" val="32611195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DC31F-AFED-126A-C546-73A047ECE2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022BA30-40DA-40EE-5436-97871981C9F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6851EBDF-312F-F0E4-4D10-680B00922998}"/>
              </a:ext>
            </a:extLst>
          </p:cNvPr>
          <p:cNvSpPr>
            <a:spLocks noGrp="1"/>
          </p:cNvSpPr>
          <p:nvPr>
            <p:ph type="ftr" sz="quarter" idx="11"/>
          </p:nvPr>
        </p:nvSpPr>
        <p:spPr>
          <a:xfrm>
            <a:off x="2572479" y="6491801"/>
            <a:ext cx="4114800" cy="123111"/>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E4A112B-3462-0CDA-D104-9AFDCC52526B}"/>
              </a:ext>
            </a:extLst>
          </p:cNvPr>
          <p:cNvSpPr>
            <a:spLocks noGrp="1"/>
          </p:cNvSpPr>
          <p:nvPr>
            <p:ph type="sldNum" sz="quarter" idx="12"/>
          </p:nvPr>
        </p:nvSpPr>
        <p:spPr>
          <a:xfrm>
            <a:off x="11587480" y="6491801"/>
            <a:ext cx="147320" cy="123111"/>
          </a:xfrm>
          <a:prstGeom prst="rect">
            <a:avLst/>
          </a:prstGeom>
        </p:spPr>
        <p:txBody>
          <a:bodyPr/>
          <a:lstStyle>
            <a:lvl1pPr algn="r">
              <a:defRPr/>
            </a:lvl1pPr>
          </a:lstStyle>
          <a:p>
            <a:fld id="{8EF06CA7-FD17-4ED9-BB88-8DBABC6E69EA}" type="slidenum">
              <a:rPr lang="en-US" smtClean="0"/>
              <a:pPr/>
              <a:t>‹#›</a:t>
            </a:fld>
            <a:endParaRPr lang="en-US"/>
          </a:p>
        </p:txBody>
      </p:sp>
    </p:spTree>
    <p:extLst>
      <p:ext uri="{BB962C8B-B14F-4D97-AF65-F5344CB8AC3E}">
        <p14:creationId xmlns:p14="http://schemas.microsoft.com/office/powerpoint/2010/main" val="30762727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44783-AB19-DCDB-A9AD-A2A4182128A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C2965E1-9EB3-B9E9-EAB9-ABC6BF9F15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3B74743-C997-BEC6-FABC-4A18C061C7AE}"/>
              </a:ext>
            </a:extLst>
          </p:cNvPr>
          <p:cNvSpPr>
            <a:spLocks noGrp="1"/>
          </p:cNvSpPr>
          <p:nvPr>
            <p:ph type="dt" sz="half" idx="10"/>
          </p:nvPr>
        </p:nvSpPr>
        <p:spPr>
          <a:xfrm>
            <a:off x="838200" y="6356350"/>
            <a:ext cx="2743200" cy="365125"/>
          </a:xfrm>
          <a:prstGeom prst="rect">
            <a:avLst/>
          </a:prstGeom>
        </p:spPr>
        <p:txBody>
          <a:bodyPr/>
          <a:lstStyle/>
          <a:p>
            <a:fld id="{29CF9CF7-D07D-431D-8AF8-63324C7226AA}" type="datetimeFigureOut">
              <a:rPr lang="en-US" smtClean="0"/>
              <a:t>9/13/23</a:t>
            </a:fld>
            <a:endParaRPr lang="en-US"/>
          </a:p>
        </p:txBody>
      </p:sp>
      <p:sp>
        <p:nvSpPr>
          <p:cNvPr id="5" name="Footer Placeholder 4">
            <a:extLst>
              <a:ext uri="{FF2B5EF4-FFF2-40B4-BE49-F238E27FC236}">
                <a16:creationId xmlns:a16="http://schemas.microsoft.com/office/drawing/2014/main" id="{B72DF369-0955-21EB-8E9B-536F409D2398}"/>
              </a:ext>
            </a:extLst>
          </p:cNvPr>
          <p:cNvSpPr>
            <a:spLocks noGrp="1"/>
          </p:cNvSpPr>
          <p:nvPr>
            <p:ph type="ftr" sz="quarter" idx="11"/>
          </p:nvPr>
        </p:nvSpPr>
        <p:spPr>
          <a:xfrm>
            <a:off x="2572479" y="6491801"/>
            <a:ext cx="4114800" cy="123111"/>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D3D7F5D-AA90-D0FD-8D58-D5B7E65B6220}"/>
              </a:ext>
            </a:extLst>
          </p:cNvPr>
          <p:cNvSpPr>
            <a:spLocks noGrp="1"/>
          </p:cNvSpPr>
          <p:nvPr>
            <p:ph type="sldNum" sz="quarter" idx="12"/>
          </p:nvPr>
        </p:nvSpPr>
        <p:spPr>
          <a:xfrm>
            <a:off x="11587480" y="6491801"/>
            <a:ext cx="147320" cy="123111"/>
          </a:xfrm>
          <a:prstGeom prst="rect">
            <a:avLst/>
          </a:prstGeom>
        </p:spPr>
        <p:txBody>
          <a:bodyPr/>
          <a:lstStyle/>
          <a:p>
            <a:fld id="{8EF06CA7-FD17-4ED9-BB88-8DBABC6E69EA}" type="slidenum">
              <a:rPr lang="en-US" smtClean="0"/>
              <a:t>‹#›</a:t>
            </a:fld>
            <a:endParaRPr lang="en-US"/>
          </a:p>
        </p:txBody>
      </p:sp>
    </p:spTree>
    <p:extLst>
      <p:ext uri="{BB962C8B-B14F-4D97-AF65-F5344CB8AC3E}">
        <p14:creationId xmlns:p14="http://schemas.microsoft.com/office/powerpoint/2010/main" val="147002480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50542-BF9E-B5D2-E2F3-EF29506F39F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53B0876-5E71-C02E-4112-32EB263A720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D1F466C-9C18-F066-6EDD-45B49B3E4D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E6C2F8F-6BAE-2C21-4E14-C515BB2CC648}"/>
              </a:ext>
            </a:extLst>
          </p:cNvPr>
          <p:cNvSpPr>
            <a:spLocks noGrp="1"/>
          </p:cNvSpPr>
          <p:nvPr>
            <p:ph type="dt" sz="half" idx="10"/>
          </p:nvPr>
        </p:nvSpPr>
        <p:spPr>
          <a:xfrm>
            <a:off x="838200" y="6356350"/>
            <a:ext cx="2743200" cy="365125"/>
          </a:xfrm>
          <a:prstGeom prst="rect">
            <a:avLst/>
          </a:prstGeom>
        </p:spPr>
        <p:txBody>
          <a:bodyPr/>
          <a:lstStyle/>
          <a:p>
            <a:fld id="{29CF9CF7-D07D-431D-8AF8-63324C7226AA}" type="datetimeFigureOut">
              <a:rPr lang="en-US" smtClean="0"/>
              <a:t>9/13/23</a:t>
            </a:fld>
            <a:endParaRPr lang="en-US"/>
          </a:p>
        </p:txBody>
      </p:sp>
      <p:sp>
        <p:nvSpPr>
          <p:cNvPr id="6" name="Footer Placeholder 5">
            <a:extLst>
              <a:ext uri="{FF2B5EF4-FFF2-40B4-BE49-F238E27FC236}">
                <a16:creationId xmlns:a16="http://schemas.microsoft.com/office/drawing/2014/main" id="{DF989888-26E2-76AB-7B74-606BF4347483}"/>
              </a:ext>
            </a:extLst>
          </p:cNvPr>
          <p:cNvSpPr>
            <a:spLocks noGrp="1"/>
          </p:cNvSpPr>
          <p:nvPr>
            <p:ph type="ftr" sz="quarter" idx="11"/>
          </p:nvPr>
        </p:nvSpPr>
        <p:spPr>
          <a:xfrm>
            <a:off x="2572479" y="6491801"/>
            <a:ext cx="4114800" cy="123111"/>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D2E04BB-80CA-35B1-1543-60B948C64B7A}"/>
              </a:ext>
            </a:extLst>
          </p:cNvPr>
          <p:cNvSpPr>
            <a:spLocks noGrp="1"/>
          </p:cNvSpPr>
          <p:nvPr>
            <p:ph type="sldNum" sz="quarter" idx="12"/>
          </p:nvPr>
        </p:nvSpPr>
        <p:spPr>
          <a:xfrm>
            <a:off x="11587480" y="6491801"/>
            <a:ext cx="147320" cy="123111"/>
          </a:xfrm>
          <a:prstGeom prst="rect">
            <a:avLst/>
          </a:prstGeom>
        </p:spPr>
        <p:txBody>
          <a:bodyPr/>
          <a:lstStyle/>
          <a:p>
            <a:fld id="{8EF06CA7-FD17-4ED9-BB88-8DBABC6E69EA}" type="slidenum">
              <a:rPr lang="en-US" smtClean="0"/>
              <a:t>‹#›</a:t>
            </a:fld>
            <a:endParaRPr lang="en-US"/>
          </a:p>
        </p:txBody>
      </p:sp>
    </p:spTree>
    <p:extLst>
      <p:ext uri="{BB962C8B-B14F-4D97-AF65-F5344CB8AC3E}">
        <p14:creationId xmlns:p14="http://schemas.microsoft.com/office/powerpoint/2010/main" val="13974016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2060"/>
            </a:gs>
            <a:gs pos="100000">
              <a:srgbClr val="00133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60330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CEBF889A-EF65-41C8-9552-3732E3637AF9}"/>
              </a:ext>
            </a:extLst>
          </p:cNvPr>
          <p:cNvPicPr>
            <a:picLocks/>
          </p:cNvPicPr>
          <p:nvPr userDrawn="1"/>
        </p:nvPicPr>
        <p:blipFill>
          <a:blip r:embed="rId6"/>
          <a:srcRect/>
          <a:stretch>
            <a:fillRect/>
          </a:stretch>
        </p:blipFill>
        <p:spPr>
          <a:xfrm>
            <a:off x="-1" y="0"/>
            <a:ext cx="12192001" cy="6858000"/>
          </a:xfrm>
          <a:custGeom>
            <a:avLst/>
            <a:gdLst>
              <a:gd name="connsiteX0" fmla="*/ 0 w 5316303"/>
              <a:gd name="connsiteY0" fmla="*/ 0 h 2990420"/>
              <a:gd name="connsiteX1" fmla="*/ 5316303 w 5316303"/>
              <a:gd name="connsiteY1" fmla="*/ 0 h 2990420"/>
              <a:gd name="connsiteX2" fmla="*/ 5316303 w 5316303"/>
              <a:gd name="connsiteY2" fmla="*/ 2990420 h 2990420"/>
              <a:gd name="connsiteX3" fmla="*/ 0 w 5316303"/>
              <a:gd name="connsiteY3" fmla="*/ 2990420 h 2990420"/>
            </a:gdLst>
            <a:ahLst/>
            <a:cxnLst>
              <a:cxn ang="0">
                <a:pos x="connsiteX0" y="connsiteY0"/>
              </a:cxn>
              <a:cxn ang="0">
                <a:pos x="connsiteX1" y="connsiteY1"/>
              </a:cxn>
              <a:cxn ang="0">
                <a:pos x="connsiteX2" y="connsiteY2"/>
              </a:cxn>
              <a:cxn ang="0">
                <a:pos x="connsiteX3" y="connsiteY3"/>
              </a:cxn>
            </a:cxnLst>
            <a:rect l="l" t="t" r="r" b="b"/>
            <a:pathLst>
              <a:path w="5316303" h="2990420">
                <a:moveTo>
                  <a:pt x="0" y="0"/>
                </a:moveTo>
                <a:lnTo>
                  <a:pt x="5316303" y="0"/>
                </a:lnTo>
                <a:lnTo>
                  <a:pt x="5316303" y="2990420"/>
                </a:lnTo>
                <a:lnTo>
                  <a:pt x="0" y="2990420"/>
                </a:lnTo>
                <a:close/>
              </a:path>
            </a:pathLst>
          </a:custGeom>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002060"/>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Slide Number">
            <a:extLst>
              <a:ext uri="{FF2B5EF4-FFF2-40B4-BE49-F238E27FC236}">
                <a16:creationId xmlns:a16="http://schemas.microsoft.com/office/drawing/2014/main" id="{E4B01BD1-92F8-400D-A988-F44362EEA191}"/>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FFFFFF"/>
                </a:solidFill>
                <a:latin typeface="Trebuchet MS"/>
                <a:cs typeface="Arial" panose="020B0604020202020204" pitchFamily="34" charset="0"/>
              </a:rPr>
              <a:pPr algn="r" defTabSz="610744">
                <a:defRPr/>
              </a:pPr>
              <a:t>‹#›</a:t>
            </a:fld>
            <a:endParaRPr lang="en-US" sz="900">
              <a:solidFill>
                <a:srgbClr val="FFFFFF"/>
              </a:solidFill>
              <a:latin typeface="Trebuchet MS"/>
              <a:cs typeface="Arial" panose="020B0604020202020204" pitchFamily="34" charset="0"/>
            </a:endParaRPr>
          </a:p>
        </p:txBody>
      </p:sp>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D1076-03C6-78CA-1F5B-461A384FD2F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8CFDF6E-C0C6-B2EA-4340-365C5FB3E0E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E1331A4-2DBC-7308-84CF-4C001F93590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18DC677-B45A-B618-55CF-2735AF7B7C0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874E62A-6FC8-A8AE-8B79-4F0E62CAB68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7F56F93-F7BD-0736-CA55-BB5148B12FE5}"/>
              </a:ext>
            </a:extLst>
          </p:cNvPr>
          <p:cNvSpPr>
            <a:spLocks noGrp="1"/>
          </p:cNvSpPr>
          <p:nvPr>
            <p:ph type="dt" sz="half" idx="10"/>
          </p:nvPr>
        </p:nvSpPr>
        <p:spPr>
          <a:xfrm>
            <a:off x="838200" y="6356350"/>
            <a:ext cx="2743200" cy="365125"/>
          </a:xfrm>
          <a:prstGeom prst="rect">
            <a:avLst/>
          </a:prstGeom>
        </p:spPr>
        <p:txBody>
          <a:bodyPr/>
          <a:lstStyle/>
          <a:p>
            <a:fld id="{29CF9CF7-D07D-431D-8AF8-63324C7226AA}" type="datetimeFigureOut">
              <a:rPr lang="en-US" smtClean="0"/>
              <a:t>9/13/23</a:t>
            </a:fld>
            <a:endParaRPr lang="en-US"/>
          </a:p>
        </p:txBody>
      </p:sp>
      <p:sp>
        <p:nvSpPr>
          <p:cNvPr id="8" name="Footer Placeholder 7">
            <a:extLst>
              <a:ext uri="{FF2B5EF4-FFF2-40B4-BE49-F238E27FC236}">
                <a16:creationId xmlns:a16="http://schemas.microsoft.com/office/drawing/2014/main" id="{3EA4A45A-B8BC-633E-1EEA-632C21FF5602}"/>
              </a:ext>
            </a:extLst>
          </p:cNvPr>
          <p:cNvSpPr>
            <a:spLocks noGrp="1"/>
          </p:cNvSpPr>
          <p:nvPr>
            <p:ph type="ftr" sz="quarter" idx="11"/>
          </p:nvPr>
        </p:nvSpPr>
        <p:spPr>
          <a:xfrm>
            <a:off x="2572479" y="6491801"/>
            <a:ext cx="4114800" cy="123111"/>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FA2A18A3-06AE-A174-171C-B8FAC8DCBE2C}"/>
              </a:ext>
            </a:extLst>
          </p:cNvPr>
          <p:cNvSpPr>
            <a:spLocks noGrp="1"/>
          </p:cNvSpPr>
          <p:nvPr>
            <p:ph type="sldNum" sz="quarter" idx="12"/>
          </p:nvPr>
        </p:nvSpPr>
        <p:spPr>
          <a:xfrm>
            <a:off x="11587480" y="6491801"/>
            <a:ext cx="147320" cy="123111"/>
          </a:xfrm>
          <a:prstGeom prst="rect">
            <a:avLst/>
          </a:prstGeom>
        </p:spPr>
        <p:txBody>
          <a:bodyPr/>
          <a:lstStyle/>
          <a:p>
            <a:fld id="{8EF06CA7-FD17-4ED9-BB88-8DBABC6E69EA}" type="slidenum">
              <a:rPr lang="en-US" smtClean="0"/>
              <a:t>‹#›</a:t>
            </a:fld>
            <a:endParaRPr lang="en-US"/>
          </a:p>
        </p:txBody>
      </p:sp>
    </p:spTree>
    <p:extLst>
      <p:ext uri="{BB962C8B-B14F-4D97-AF65-F5344CB8AC3E}">
        <p14:creationId xmlns:p14="http://schemas.microsoft.com/office/powerpoint/2010/main" val="13863640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5C4DF-08CB-7270-4455-8C018CB137A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02E16F-4416-0354-EF61-01BF983180E7}"/>
              </a:ext>
            </a:extLst>
          </p:cNvPr>
          <p:cNvSpPr>
            <a:spLocks noGrp="1"/>
          </p:cNvSpPr>
          <p:nvPr>
            <p:ph type="dt" sz="half" idx="10"/>
          </p:nvPr>
        </p:nvSpPr>
        <p:spPr>
          <a:xfrm>
            <a:off x="838200" y="6356350"/>
            <a:ext cx="2743200" cy="365125"/>
          </a:xfrm>
          <a:prstGeom prst="rect">
            <a:avLst/>
          </a:prstGeom>
        </p:spPr>
        <p:txBody>
          <a:bodyPr/>
          <a:lstStyle/>
          <a:p>
            <a:fld id="{29CF9CF7-D07D-431D-8AF8-63324C7226AA}" type="datetimeFigureOut">
              <a:rPr lang="en-US" smtClean="0"/>
              <a:t>9/13/23</a:t>
            </a:fld>
            <a:endParaRPr lang="en-US"/>
          </a:p>
        </p:txBody>
      </p:sp>
      <p:sp>
        <p:nvSpPr>
          <p:cNvPr id="4" name="Footer Placeholder 3">
            <a:extLst>
              <a:ext uri="{FF2B5EF4-FFF2-40B4-BE49-F238E27FC236}">
                <a16:creationId xmlns:a16="http://schemas.microsoft.com/office/drawing/2014/main" id="{4652B879-A6C1-8932-3D58-AA3CA3161978}"/>
              </a:ext>
            </a:extLst>
          </p:cNvPr>
          <p:cNvSpPr>
            <a:spLocks noGrp="1"/>
          </p:cNvSpPr>
          <p:nvPr>
            <p:ph type="ftr" sz="quarter" idx="11"/>
          </p:nvPr>
        </p:nvSpPr>
        <p:spPr>
          <a:xfrm>
            <a:off x="2572479" y="6491801"/>
            <a:ext cx="4114800" cy="123111"/>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C31924A0-F4F3-712C-A0A4-6D363D1A2229}"/>
              </a:ext>
            </a:extLst>
          </p:cNvPr>
          <p:cNvSpPr>
            <a:spLocks noGrp="1"/>
          </p:cNvSpPr>
          <p:nvPr>
            <p:ph type="sldNum" sz="quarter" idx="12"/>
          </p:nvPr>
        </p:nvSpPr>
        <p:spPr>
          <a:xfrm>
            <a:off x="11587480" y="6491801"/>
            <a:ext cx="147320" cy="123111"/>
          </a:xfrm>
          <a:prstGeom prst="rect">
            <a:avLst/>
          </a:prstGeom>
        </p:spPr>
        <p:txBody>
          <a:bodyPr/>
          <a:lstStyle/>
          <a:p>
            <a:fld id="{8EF06CA7-FD17-4ED9-BB88-8DBABC6E69EA}" type="slidenum">
              <a:rPr lang="en-US" smtClean="0"/>
              <a:t>‹#›</a:t>
            </a:fld>
            <a:endParaRPr lang="en-US"/>
          </a:p>
        </p:txBody>
      </p:sp>
    </p:spTree>
    <p:extLst>
      <p:ext uri="{BB962C8B-B14F-4D97-AF65-F5344CB8AC3E}">
        <p14:creationId xmlns:p14="http://schemas.microsoft.com/office/powerpoint/2010/main" val="11567169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42CB47A-BECB-F3F4-1CBA-E4239F018224}"/>
              </a:ext>
            </a:extLst>
          </p:cNvPr>
          <p:cNvSpPr>
            <a:spLocks noGrp="1"/>
          </p:cNvSpPr>
          <p:nvPr>
            <p:ph type="dt" sz="half" idx="10"/>
          </p:nvPr>
        </p:nvSpPr>
        <p:spPr>
          <a:xfrm>
            <a:off x="838200" y="6356350"/>
            <a:ext cx="2743200" cy="365125"/>
          </a:xfrm>
          <a:prstGeom prst="rect">
            <a:avLst/>
          </a:prstGeom>
        </p:spPr>
        <p:txBody>
          <a:bodyPr/>
          <a:lstStyle/>
          <a:p>
            <a:fld id="{29CF9CF7-D07D-431D-8AF8-63324C7226AA}" type="datetimeFigureOut">
              <a:rPr lang="en-US" smtClean="0"/>
              <a:t>9/13/23</a:t>
            </a:fld>
            <a:endParaRPr lang="en-US"/>
          </a:p>
        </p:txBody>
      </p:sp>
      <p:sp>
        <p:nvSpPr>
          <p:cNvPr id="3" name="Footer Placeholder 2">
            <a:extLst>
              <a:ext uri="{FF2B5EF4-FFF2-40B4-BE49-F238E27FC236}">
                <a16:creationId xmlns:a16="http://schemas.microsoft.com/office/drawing/2014/main" id="{64F78598-BD33-3860-B9D3-57C69C625327}"/>
              </a:ext>
            </a:extLst>
          </p:cNvPr>
          <p:cNvSpPr>
            <a:spLocks noGrp="1"/>
          </p:cNvSpPr>
          <p:nvPr>
            <p:ph type="ftr" sz="quarter" idx="11"/>
          </p:nvPr>
        </p:nvSpPr>
        <p:spPr>
          <a:xfrm>
            <a:off x="2572479" y="6491801"/>
            <a:ext cx="4114800" cy="123111"/>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42B083B2-19F7-92FA-E53D-D6196602563F}"/>
              </a:ext>
            </a:extLst>
          </p:cNvPr>
          <p:cNvSpPr>
            <a:spLocks noGrp="1"/>
          </p:cNvSpPr>
          <p:nvPr>
            <p:ph type="sldNum" sz="quarter" idx="12"/>
          </p:nvPr>
        </p:nvSpPr>
        <p:spPr>
          <a:xfrm>
            <a:off x="11587480" y="6491801"/>
            <a:ext cx="147320" cy="123111"/>
          </a:xfrm>
          <a:prstGeom prst="rect">
            <a:avLst/>
          </a:prstGeom>
        </p:spPr>
        <p:txBody>
          <a:bodyPr/>
          <a:lstStyle/>
          <a:p>
            <a:fld id="{8EF06CA7-FD17-4ED9-BB88-8DBABC6E69EA}" type="slidenum">
              <a:rPr lang="en-US" smtClean="0"/>
              <a:t>‹#›</a:t>
            </a:fld>
            <a:endParaRPr lang="en-US"/>
          </a:p>
        </p:txBody>
      </p:sp>
    </p:spTree>
    <p:extLst>
      <p:ext uri="{BB962C8B-B14F-4D97-AF65-F5344CB8AC3E}">
        <p14:creationId xmlns:p14="http://schemas.microsoft.com/office/powerpoint/2010/main" val="244715629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4C4B0C-F724-E6A8-4E3D-FBB2138271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A61DB14-B8E0-201F-A0F5-2FDC0D3C12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31340AE-A9B3-AFD0-5C49-72E2D7173A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30E516-EFED-88AB-8561-F40CBDB0637D}"/>
              </a:ext>
            </a:extLst>
          </p:cNvPr>
          <p:cNvSpPr>
            <a:spLocks noGrp="1"/>
          </p:cNvSpPr>
          <p:nvPr>
            <p:ph type="dt" sz="half" idx="10"/>
          </p:nvPr>
        </p:nvSpPr>
        <p:spPr>
          <a:xfrm>
            <a:off x="838200" y="6356350"/>
            <a:ext cx="2743200" cy="365125"/>
          </a:xfrm>
          <a:prstGeom prst="rect">
            <a:avLst/>
          </a:prstGeom>
        </p:spPr>
        <p:txBody>
          <a:bodyPr/>
          <a:lstStyle/>
          <a:p>
            <a:fld id="{29CF9CF7-D07D-431D-8AF8-63324C7226AA}" type="datetimeFigureOut">
              <a:rPr lang="en-US" smtClean="0"/>
              <a:t>9/13/23</a:t>
            </a:fld>
            <a:endParaRPr lang="en-US"/>
          </a:p>
        </p:txBody>
      </p:sp>
      <p:sp>
        <p:nvSpPr>
          <p:cNvPr id="6" name="Footer Placeholder 5">
            <a:extLst>
              <a:ext uri="{FF2B5EF4-FFF2-40B4-BE49-F238E27FC236}">
                <a16:creationId xmlns:a16="http://schemas.microsoft.com/office/drawing/2014/main" id="{DABF8DB9-EB7A-19D9-E7F7-5DC7487DA10C}"/>
              </a:ext>
            </a:extLst>
          </p:cNvPr>
          <p:cNvSpPr>
            <a:spLocks noGrp="1"/>
          </p:cNvSpPr>
          <p:nvPr>
            <p:ph type="ftr" sz="quarter" idx="11"/>
          </p:nvPr>
        </p:nvSpPr>
        <p:spPr>
          <a:xfrm>
            <a:off x="2572479" y="6491801"/>
            <a:ext cx="4114800" cy="123111"/>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96471D5-6351-E9B6-6C99-D639BC611879}"/>
              </a:ext>
            </a:extLst>
          </p:cNvPr>
          <p:cNvSpPr>
            <a:spLocks noGrp="1"/>
          </p:cNvSpPr>
          <p:nvPr>
            <p:ph type="sldNum" sz="quarter" idx="12"/>
          </p:nvPr>
        </p:nvSpPr>
        <p:spPr>
          <a:xfrm>
            <a:off x="11587480" y="6491801"/>
            <a:ext cx="147320" cy="123111"/>
          </a:xfrm>
          <a:prstGeom prst="rect">
            <a:avLst/>
          </a:prstGeom>
        </p:spPr>
        <p:txBody>
          <a:bodyPr/>
          <a:lstStyle/>
          <a:p>
            <a:fld id="{8EF06CA7-FD17-4ED9-BB88-8DBABC6E69EA}" type="slidenum">
              <a:rPr lang="en-US" smtClean="0"/>
              <a:t>‹#›</a:t>
            </a:fld>
            <a:endParaRPr lang="en-US"/>
          </a:p>
        </p:txBody>
      </p:sp>
    </p:spTree>
    <p:extLst>
      <p:ext uri="{BB962C8B-B14F-4D97-AF65-F5344CB8AC3E}">
        <p14:creationId xmlns:p14="http://schemas.microsoft.com/office/powerpoint/2010/main" val="215173769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4DE94-7F9D-A23D-3F6F-685AADEBD0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0C634F4-0950-54FE-8304-5A59A0C63A8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EF622BC-A857-3DD0-4446-BF8BEE00D0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013E073-4541-3505-9870-105578E5CF35}"/>
              </a:ext>
            </a:extLst>
          </p:cNvPr>
          <p:cNvSpPr>
            <a:spLocks noGrp="1"/>
          </p:cNvSpPr>
          <p:nvPr>
            <p:ph type="dt" sz="half" idx="10"/>
          </p:nvPr>
        </p:nvSpPr>
        <p:spPr>
          <a:xfrm>
            <a:off x="838200" y="6356350"/>
            <a:ext cx="2743200" cy="365125"/>
          </a:xfrm>
          <a:prstGeom prst="rect">
            <a:avLst/>
          </a:prstGeom>
        </p:spPr>
        <p:txBody>
          <a:bodyPr/>
          <a:lstStyle/>
          <a:p>
            <a:fld id="{29CF9CF7-D07D-431D-8AF8-63324C7226AA}" type="datetimeFigureOut">
              <a:rPr lang="en-US" smtClean="0"/>
              <a:t>9/13/23</a:t>
            </a:fld>
            <a:endParaRPr lang="en-US"/>
          </a:p>
        </p:txBody>
      </p:sp>
      <p:sp>
        <p:nvSpPr>
          <p:cNvPr id="6" name="Footer Placeholder 5">
            <a:extLst>
              <a:ext uri="{FF2B5EF4-FFF2-40B4-BE49-F238E27FC236}">
                <a16:creationId xmlns:a16="http://schemas.microsoft.com/office/drawing/2014/main" id="{CB9A0D49-6E50-FE17-F45C-7D698174BAC2}"/>
              </a:ext>
            </a:extLst>
          </p:cNvPr>
          <p:cNvSpPr>
            <a:spLocks noGrp="1"/>
          </p:cNvSpPr>
          <p:nvPr>
            <p:ph type="ftr" sz="quarter" idx="11"/>
          </p:nvPr>
        </p:nvSpPr>
        <p:spPr>
          <a:xfrm>
            <a:off x="2572479" y="6491801"/>
            <a:ext cx="4114800" cy="123111"/>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9233B34B-B02B-B708-1723-3748A658145E}"/>
              </a:ext>
            </a:extLst>
          </p:cNvPr>
          <p:cNvSpPr>
            <a:spLocks noGrp="1"/>
          </p:cNvSpPr>
          <p:nvPr>
            <p:ph type="sldNum" sz="quarter" idx="12"/>
          </p:nvPr>
        </p:nvSpPr>
        <p:spPr>
          <a:xfrm>
            <a:off x="11587480" y="6491801"/>
            <a:ext cx="147320" cy="123111"/>
          </a:xfrm>
          <a:prstGeom prst="rect">
            <a:avLst/>
          </a:prstGeom>
        </p:spPr>
        <p:txBody>
          <a:bodyPr/>
          <a:lstStyle/>
          <a:p>
            <a:fld id="{8EF06CA7-FD17-4ED9-BB88-8DBABC6E69EA}" type="slidenum">
              <a:rPr lang="en-US" smtClean="0"/>
              <a:t>‹#›</a:t>
            </a:fld>
            <a:endParaRPr lang="en-US"/>
          </a:p>
        </p:txBody>
      </p:sp>
    </p:spTree>
    <p:extLst>
      <p:ext uri="{BB962C8B-B14F-4D97-AF65-F5344CB8AC3E}">
        <p14:creationId xmlns:p14="http://schemas.microsoft.com/office/powerpoint/2010/main" val="9707463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6A6D47-920C-7928-A3BC-67E21BB73CC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58484A5-A345-1037-BE65-ABFF0F3517F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DE526EC-65DA-E5CD-1F31-64ADBDCA053A}"/>
              </a:ext>
            </a:extLst>
          </p:cNvPr>
          <p:cNvSpPr>
            <a:spLocks noGrp="1"/>
          </p:cNvSpPr>
          <p:nvPr>
            <p:ph type="dt" sz="half" idx="10"/>
          </p:nvPr>
        </p:nvSpPr>
        <p:spPr>
          <a:xfrm>
            <a:off x="838200" y="6356350"/>
            <a:ext cx="2743200" cy="365125"/>
          </a:xfrm>
          <a:prstGeom prst="rect">
            <a:avLst/>
          </a:prstGeom>
        </p:spPr>
        <p:txBody>
          <a:bodyPr/>
          <a:lstStyle/>
          <a:p>
            <a:fld id="{29CF9CF7-D07D-431D-8AF8-63324C7226AA}" type="datetimeFigureOut">
              <a:rPr lang="en-US" smtClean="0"/>
              <a:t>9/13/23</a:t>
            </a:fld>
            <a:endParaRPr lang="en-US"/>
          </a:p>
        </p:txBody>
      </p:sp>
      <p:sp>
        <p:nvSpPr>
          <p:cNvPr id="5" name="Footer Placeholder 4">
            <a:extLst>
              <a:ext uri="{FF2B5EF4-FFF2-40B4-BE49-F238E27FC236}">
                <a16:creationId xmlns:a16="http://schemas.microsoft.com/office/drawing/2014/main" id="{4A114002-79E2-156A-B602-62B53E49FAD6}"/>
              </a:ext>
            </a:extLst>
          </p:cNvPr>
          <p:cNvSpPr>
            <a:spLocks noGrp="1"/>
          </p:cNvSpPr>
          <p:nvPr>
            <p:ph type="ftr" sz="quarter" idx="11"/>
          </p:nvPr>
        </p:nvSpPr>
        <p:spPr>
          <a:xfrm>
            <a:off x="2572479" y="6491801"/>
            <a:ext cx="4114800" cy="123111"/>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FD4978E-61C9-7CF7-C7D1-59CA08BD61E6}"/>
              </a:ext>
            </a:extLst>
          </p:cNvPr>
          <p:cNvSpPr>
            <a:spLocks noGrp="1"/>
          </p:cNvSpPr>
          <p:nvPr>
            <p:ph type="sldNum" sz="quarter" idx="12"/>
          </p:nvPr>
        </p:nvSpPr>
        <p:spPr>
          <a:xfrm>
            <a:off x="11587480" y="6491801"/>
            <a:ext cx="147320" cy="123111"/>
          </a:xfrm>
          <a:prstGeom prst="rect">
            <a:avLst/>
          </a:prstGeom>
        </p:spPr>
        <p:txBody>
          <a:bodyPr/>
          <a:lstStyle/>
          <a:p>
            <a:fld id="{8EF06CA7-FD17-4ED9-BB88-8DBABC6E69EA}" type="slidenum">
              <a:rPr lang="en-US" smtClean="0"/>
              <a:t>‹#›</a:t>
            </a:fld>
            <a:endParaRPr lang="en-US"/>
          </a:p>
        </p:txBody>
      </p:sp>
    </p:spTree>
    <p:extLst>
      <p:ext uri="{BB962C8B-B14F-4D97-AF65-F5344CB8AC3E}">
        <p14:creationId xmlns:p14="http://schemas.microsoft.com/office/powerpoint/2010/main" val="3642448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5A84B51-8087-6947-C1F3-4BB9A1F6369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BD13D1F-C3E3-63FA-5000-199D637FAE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8FA7D4-741E-D763-FC32-7B33A88CAEB6}"/>
              </a:ext>
            </a:extLst>
          </p:cNvPr>
          <p:cNvSpPr>
            <a:spLocks noGrp="1"/>
          </p:cNvSpPr>
          <p:nvPr>
            <p:ph type="dt" sz="half" idx="10"/>
          </p:nvPr>
        </p:nvSpPr>
        <p:spPr>
          <a:xfrm>
            <a:off x="838200" y="6356350"/>
            <a:ext cx="2743200" cy="365125"/>
          </a:xfrm>
          <a:prstGeom prst="rect">
            <a:avLst/>
          </a:prstGeom>
        </p:spPr>
        <p:txBody>
          <a:bodyPr/>
          <a:lstStyle/>
          <a:p>
            <a:fld id="{29CF9CF7-D07D-431D-8AF8-63324C7226AA}" type="datetimeFigureOut">
              <a:rPr lang="en-US" smtClean="0"/>
              <a:t>9/13/23</a:t>
            </a:fld>
            <a:endParaRPr lang="en-US"/>
          </a:p>
        </p:txBody>
      </p:sp>
      <p:sp>
        <p:nvSpPr>
          <p:cNvPr id="5" name="Footer Placeholder 4">
            <a:extLst>
              <a:ext uri="{FF2B5EF4-FFF2-40B4-BE49-F238E27FC236}">
                <a16:creationId xmlns:a16="http://schemas.microsoft.com/office/drawing/2014/main" id="{B21C0070-A3F9-2237-055E-492C2492D887}"/>
              </a:ext>
            </a:extLst>
          </p:cNvPr>
          <p:cNvSpPr>
            <a:spLocks noGrp="1"/>
          </p:cNvSpPr>
          <p:nvPr>
            <p:ph type="ftr" sz="quarter" idx="11"/>
          </p:nvPr>
        </p:nvSpPr>
        <p:spPr>
          <a:xfrm>
            <a:off x="2572479" y="6491801"/>
            <a:ext cx="4114800" cy="123111"/>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274B226-980F-9C6E-A182-4BE552116C1F}"/>
              </a:ext>
            </a:extLst>
          </p:cNvPr>
          <p:cNvSpPr>
            <a:spLocks noGrp="1"/>
          </p:cNvSpPr>
          <p:nvPr>
            <p:ph type="sldNum" sz="quarter" idx="12"/>
          </p:nvPr>
        </p:nvSpPr>
        <p:spPr>
          <a:xfrm>
            <a:off x="11587480" y="6491801"/>
            <a:ext cx="147320" cy="123111"/>
          </a:xfrm>
          <a:prstGeom prst="rect">
            <a:avLst/>
          </a:prstGeom>
        </p:spPr>
        <p:txBody>
          <a:bodyPr/>
          <a:lstStyle/>
          <a:p>
            <a:fld id="{8EF06CA7-FD17-4ED9-BB88-8DBABC6E69EA}" type="slidenum">
              <a:rPr lang="en-US" smtClean="0"/>
              <a:t>‹#›</a:t>
            </a:fld>
            <a:endParaRPr lang="en-US"/>
          </a:p>
        </p:txBody>
      </p:sp>
    </p:spTree>
    <p:extLst>
      <p:ext uri="{BB962C8B-B14F-4D97-AF65-F5344CB8AC3E}">
        <p14:creationId xmlns:p14="http://schemas.microsoft.com/office/powerpoint/2010/main" val="7733823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image" Target="../media/image4.png"/><Relationship Id="rId3" Type="http://schemas.openxmlformats.org/officeDocument/2006/relationships/slideLayout" Target="../slideLayouts/slideLayout27.xml"/><Relationship Id="rId21" Type="http://schemas.openxmlformats.org/officeDocument/2006/relationships/tags" Target="../tags/tag40.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3.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ags" Target="../tags/tag39.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image" Target="../media/image2.emf"/><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emf"/><Relationship Id="rId10" Type="http://schemas.openxmlformats.org/officeDocument/2006/relationships/slideLayout" Target="../slideLayouts/slideLayout34.xml"/><Relationship Id="rId19" Type="http://schemas.openxmlformats.org/officeDocument/2006/relationships/theme" Target="../theme/theme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oleObject" Target="../embeddings/oleObject20.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image" Target="../media/image3.png"/><Relationship Id="rId3" Type="http://schemas.openxmlformats.org/officeDocument/2006/relationships/slideLayout" Target="../slideLayouts/slideLayout45.xml"/><Relationship Id="rId21" Type="http://schemas.openxmlformats.org/officeDocument/2006/relationships/tags" Target="../tags/tag74.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image" Target="../media/image2.emf"/><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heme" Target="../theme/theme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image" Target="../media/image1.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oleObject" Target="../embeddings/oleObject38.bin"/><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ags" Target="../tags/tag75.xml"/><Relationship Id="rId27"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tags" Target="../tags/tag10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theme" Target="../theme/theme4.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image" Target="../media/image1.emf"/><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image" Target="../media/image4.png"/><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oleObject" Target="../embeddings/oleObject56.bin"/><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image" Target="../media/image3.png"/><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tags" Target="../tags/tag110.xml"/><Relationship Id="rId30"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5.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6"/>
            </p:custDataLst>
            <p:extLst>
              <p:ext uri="{D42A27DB-BD31-4B8C-83A1-F6EECF244321}">
                <p14:modId xmlns:p14="http://schemas.microsoft.com/office/powerpoint/2010/main" val="6517804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 name="Object 1"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57079" y="421353"/>
            <a:ext cx="11082528"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57079" y="1825625"/>
            <a:ext cx="11082528"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2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3" name="Group 2">
            <a:extLst>
              <a:ext uri="{FF2B5EF4-FFF2-40B4-BE49-F238E27FC236}">
                <a16:creationId xmlns:a16="http://schemas.microsoft.com/office/drawing/2014/main" id="{5FF2A28F-4DD7-492B-1811-4CA365EBE356}"/>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535A8DAA-3C5A-2F07-D103-166F5F7F578D}"/>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64C74D84-4813-96DC-4AA9-8C2CD008342D}"/>
                </a:ext>
              </a:extLst>
            </p:cNvPr>
            <p:cNvPicPr>
              <a:picLocks noChangeAspect="1"/>
            </p:cNvPicPr>
            <p:nvPr/>
          </p:nvPicPr>
          <p:blipFill rotWithShape="1">
            <a:blip r:embed="rId30"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8FC48479-6BD3-1F32-EE6D-25CCFB7328CE}"/>
                </a:ext>
              </a:extLst>
            </p:cNvPr>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702CF6D0-7867-9922-FBDF-D0E8F5C2A65B}"/>
                </a:ext>
              </a:extLst>
            </p:cNvPr>
            <p:cNvPicPr>
              <a:picLocks noChangeAspect="1"/>
            </p:cNvPicPr>
            <p:nvPr/>
          </p:nvPicPr>
          <p:blipFill rotWithShape="1">
            <a:blip r:embed="rId32"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19" r:id="rId2"/>
    <p:sldLayoutId id="2147485141" r:id="rId3"/>
    <p:sldLayoutId id="2147485163" r:id="rId4"/>
    <p:sldLayoutId id="2147485139" r:id="rId5"/>
    <p:sldLayoutId id="2147485140" r:id="rId6"/>
    <p:sldLayoutId id="2147485122" r:id="rId7"/>
    <p:sldLayoutId id="2147485123" r:id="rId8"/>
    <p:sldLayoutId id="2147485151" r:id="rId9"/>
    <p:sldLayoutId id="2147485168" r:id="rId10"/>
    <p:sldLayoutId id="2147485127" r:id="rId11"/>
    <p:sldLayoutId id="2147485169" r:id="rId12"/>
    <p:sldLayoutId id="2147485126" r:id="rId13"/>
    <p:sldLayoutId id="2147485170" r:id="rId14"/>
    <p:sldLayoutId id="2147485153" r:id="rId15"/>
    <p:sldLayoutId id="2147485171" r:id="rId16"/>
    <p:sldLayoutId id="2147485128" r:id="rId17"/>
    <p:sldLayoutId id="2147485173" r:id="rId18"/>
    <p:sldLayoutId id="2147485210" r:id="rId19"/>
    <p:sldLayoutId id="2147485191" r:id="rId20"/>
    <p:sldLayoutId id="2147485232" r:id="rId21"/>
    <p:sldLayoutId id="2147485259" r:id="rId22"/>
    <p:sldLayoutId id="2147485260" r:id="rId23"/>
    <p:sldLayoutId id="2147485280" r:id="rId2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00206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02060"/>
        </a:buClr>
        <a:buFont typeface="Arial" panose="020B0604020202020204" pitchFamily="34" charset="0"/>
        <a:buChar char="​"/>
        <a:defRPr lang="en-US" sz="1200" kern="1200">
          <a:solidFill>
            <a:srgbClr val="262626"/>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2060"/>
        </a:buClr>
        <a:buFont typeface="Arial" panose="020B0604020202020204" pitchFamily="34" charset="0"/>
        <a:buChar char="•"/>
        <a:defRPr lang="en-US" sz="1200" kern="1200">
          <a:solidFill>
            <a:srgbClr val="262626"/>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2060"/>
        </a:buClr>
        <a:buFont typeface="Trebuchet MS" panose="020B0603020202020204" pitchFamily="34" charset="0"/>
        <a:buChar char="–"/>
        <a:defRPr lang="en-US" sz="1200" kern="1200">
          <a:solidFill>
            <a:srgbClr val="262626"/>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2060"/>
        </a:buClr>
        <a:buFont typeface="Arial" panose="020B0604020202020204" pitchFamily="34" charset="0"/>
        <a:buChar char="​"/>
        <a:defRPr lang="en-US" sz="1600" kern="1200">
          <a:solidFill>
            <a:srgbClr val="00206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2060"/>
        </a:buClr>
        <a:buFont typeface="Arial" panose="020B0604020202020204" pitchFamily="34" charset="0"/>
        <a:buChar char="​"/>
        <a:defRPr lang="en-US" sz="1600" b="1" kern="1200" smtClean="0">
          <a:solidFill>
            <a:srgbClr val="262626"/>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2060"/>
        </a:buClr>
        <a:buFont typeface="Arial" panose="020B0604020202020204" pitchFamily="34" charset="0"/>
        <a:buChar char="•"/>
        <a:defRPr lang="en-US" sz="1600" kern="1200" smtClean="0">
          <a:solidFill>
            <a:srgbClr val="262626"/>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2060"/>
        </a:buClr>
        <a:buFont typeface="Arial" panose="020B0604020202020204" pitchFamily="34" charset="0"/>
        <a:buChar char="​"/>
        <a:defRPr lang="en-US" sz="4400" kern="1200" baseline="0" smtClean="0">
          <a:solidFill>
            <a:srgbClr val="262626"/>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2060"/>
        </a:buClr>
        <a:buFont typeface="Arial" panose="020B0604020202020204" pitchFamily="34" charset="0"/>
        <a:buChar char="​"/>
        <a:defRPr lang="en-US" sz="5400" kern="1200" baseline="0" smtClean="0">
          <a:solidFill>
            <a:srgbClr val="00206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2060"/>
        </a:buClr>
        <a:buFont typeface="Arial" panose="020B0604020202020204" pitchFamily="34" charset="0"/>
        <a:buChar char="​"/>
        <a:defRPr lang="en-US" sz="2400" kern="1200" baseline="0" dirty="0">
          <a:solidFill>
            <a:srgbClr val="002060"/>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6517804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57079" y="421353"/>
            <a:ext cx="11082528"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57079" y="1825625"/>
            <a:ext cx="11082528"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2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3" name="Group 2">
            <a:extLst>
              <a:ext uri="{FF2B5EF4-FFF2-40B4-BE49-F238E27FC236}">
                <a16:creationId xmlns:a16="http://schemas.microsoft.com/office/drawing/2014/main" id="{5FF2A28F-4DD7-492B-1811-4CA365EBE356}"/>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535A8DAA-3C5A-2F07-D103-166F5F7F578D}"/>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64C74D84-4813-96DC-4AA9-8C2CD008342D}"/>
                </a:ext>
              </a:extLst>
            </p:cNvPr>
            <p:cNvPicPr>
              <a:picLocks noChangeAspect="1"/>
            </p:cNvPicPr>
            <p:nvPr/>
          </p:nvPicPr>
          <p:blipFill rotWithShape="1">
            <a:blip r:embed="rId24"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8FC48479-6BD3-1F32-EE6D-25CCFB7328CE}"/>
                </a:ext>
              </a:extLst>
            </p:cNvPr>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702CF6D0-7867-9922-FBDF-D0E8F5C2A65B}"/>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93" r:id="rId1"/>
    <p:sldLayoutId id="2147485194" r:id="rId2"/>
    <p:sldLayoutId id="2147485195" r:id="rId3"/>
    <p:sldLayoutId id="2147485196" r:id="rId4"/>
    <p:sldLayoutId id="2147485197" r:id="rId5"/>
    <p:sldLayoutId id="2147485198" r:id="rId6"/>
    <p:sldLayoutId id="2147485199" r:id="rId7"/>
    <p:sldLayoutId id="2147485200" r:id="rId8"/>
    <p:sldLayoutId id="2147485201" r:id="rId9"/>
    <p:sldLayoutId id="2147485202" r:id="rId10"/>
    <p:sldLayoutId id="2147485203" r:id="rId11"/>
    <p:sldLayoutId id="2147485204" r:id="rId12"/>
    <p:sldLayoutId id="2147485205" r:id="rId13"/>
    <p:sldLayoutId id="2147485206" r:id="rId14"/>
    <p:sldLayoutId id="2147485207" r:id="rId15"/>
    <p:sldLayoutId id="2147485208" r:id="rId16"/>
    <p:sldLayoutId id="2147485209" r:id="rId17"/>
    <p:sldLayoutId id="2147485172" r:id="rId18"/>
  </p:sldLayoutIdLst>
  <p:transition>
    <p:fade/>
  </p:transition>
  <p:hf sldNum="0" hdr="0" ftr="0" dt="0"/>
  <p:txStyles>
    <p:titleStyle>
      <a:lvl1pPr algn="l" defTabSz="914400" rtl="0" eaLnBrk="1" latinLnBrk="0" hangingPunct="1">
        <a:lnSpc>
          <a:spcPct val="90000"/>
        </a:lnSpc>
        <a:spcBef>
          <a:spcPct val="0"/>
        </a:spcBef>
        <a:buNone/>
        <a:defRPr sz="2400" kern="1200">
          <a:solidFill>
            <a:srgbClr val="00206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02060"/>
        </a:buClr>
        <a:buFont typeface="Arial" panose="020B0604020202020204" pitchFamily="34" charset="0"/>
        <a:buChar char="​"/>
        <a:defRPr lang="en-US" sz="1200" kern="1200">
          <a:solidFill>
            <a:srgbClr val="262626"/>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2060"/>
        </a:buClr>
        <a:buFont typeface="Arial" panose="020B0604020202020204" pitchFamily="34" charset="0"/>
        <a:buChar char="•"/>
        <a:defRPr lang="en-US" sz="1200" kern="1200">
          <a:solidFill>
            <a:srgbClr val="262626"/>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2060"/>
        </a:buClr>
        <a:buFont typeface="Trebuchet MS" panose="020B0603020202020204" pitchFamily="34" charset="0"/>
        <a:buChar char="–"/>
        <a:defRPr lang="en-US" sz="1200" kern="1200">
          <a:solidFill>
            <a:srgbClr val="262626"/>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2060"/>
        </a:buClr>
        <a:buFont typeface="Arial" panose="020B0604020202020204" pitchFamily="34" charset="0"/>
        <a:buChar char="​"/>
        <a:defRPr lang="en-US" sz="1600" kern="1200">
          <a:solidFill>
            <a:srgbClr val="00206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2060"/>
        </a:buClr>
        <a:buFont typeface="Arial" panose="020B0604020202020204" pitchFamily="34" charset="0"/>
        <a:buChar char="​"/>
        <a:defRPr lang="en-US" sz="1600" b="1" kern="1200" smtClean="0">
          <a:solidFill>
            <a:srgbClr val="262626"/>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2060"/>
        </a:buClr>
        <a:buFont typeface="Arial" panose="020B0604020202020204" pitchFamily="34" charset="0"/>
        <a:buChar char="•"/>
        <a:defRPr lang="en-US" sz="1600" kern="1200" smtClean="0">
          <a:solidFill>
            <a:srgbClr val="262626"/>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2060"/>
        </a:buClr>
        <a:buFont typeface="Arial" panose="020B0604020202020204" pitchFamily="34" charset="0"/>
        <a:buChar char="​"/>
        <a:defRPr lang="en-US" sz="4400" kern="1200" baseline="0" smtClean="0">
          <a:solidFill>
            <a:srgbClr val="262626"/>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2060"/>
        </a:buClr>
        <a:buFont typeface="Arial" panose="020B0604020202020204" pitchFamily="34" charset="0"/>
        <a:buChar char="​"/>
        <a:defRPr lang="en-US" sz="5400" kern="1200" baseline="0" smtClean="0">
          <a:solidFill>
            <a:srgbClr val="00206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2060"/>
        </a:buClr>
        <a:buFont typeface="Arial" panose="020B0604020202020204" pitchFamily="34" charset="0"/>
        <a:buChar char="​"/>
        <a:defRPr lang="en-US" sz="2400" kern="1200" baseline="0" dirty="0">
          <a:solidFill>
            <a:srgbClr val="002060"/>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6517804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57079" y="421353"/>
            <a:ext cx="11082528"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57079" y="1825625"/>
            <a:ext cx="11082528"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2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3" name="Group 2">
            <a:extLst>
              <a:ext uri="{FF2B5EF4-FFF2-40B4-BE49-F238E27FC236}">
                <a16:creationId xmlns:a16="http://schemas.microsoft.com/office/drawing/2014/main" id="{5FF2A28F-4DD7-492B-1811-4CA365EBE356}"/>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535A8DAA-3C5A-2F07-D103-166F5F7F578D}"/>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64C74D84-4813-96DC-4AA9-8C2CD008342D}"/>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8FC48479-6BD3-1F32-EE6D-25CCFB7328CE}"/>
                </a:ext>
              </a:extLst>
            </p:cNvPr>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702CF6D0-7867-9922-FBDF-D0E8F5C2A65B}"/>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757486237"/>
      </p:ext>
    </p:extLst>
  </p:cSld>
  <p:clrMap bg1="lt1" tx1="dk1" bg2="lt2" tx2="dk2" accent1="accent1" accent2="accent2" accent3="accent3" accent4="accent4" accent5="accent5" accent6="accent6" hlink="hlink" folHlink="folHlink"/>
  <p:sldLayoutIdLst>
    <p:sldLayoutId id="2147485213" r:id="rId1"/>
    <p:sldLayoutId id="2147485214" r:id="rId2"/>
    <p:sldLayoutId id="2147485215" r:id="rId3"/>
    <p:sldLayoutId id="2147485216" r:id="rId4"/>
    <p:sldLayoutId id="2147485217" r:id="rId5"/>
    <p:sldLayoutId id="2147485218" r:id="rId6"/>
    <p:sldLayoutId id="2147485219" r:id="rId7"/>
    <p:sldLayoutId id="2147485220" r:id="rId8"/>
    <p:sldLayoutId id="2147485221" r:id="rId9"/>
    <p:sldLayoutId id="2147485222" r:id="rId10"/>
    <p:sldLayoutId id="2147485223" r:id="rId11"/>
    <p:sldLayoutId id="2147485224" r:id="rId12"/>
    <p:sldLayoutId id="2147485225" r:id="rId13"/>
    <p:sldLayoutId id="2147485226" r:id="rId14"/>
    <p:sldLayoutId id="2147485227" r:id="rId15"/>
    <p:sldLayoutId id="2147485228" r:id="rId16"/>
    <p:sldLayoutId id="2147485229" r:id="rId17"/>
    <p:sldLayoutId id="2147485230" r:id="rId18"/>
    <p:sldLayoutId id="2147485231" r:id="rId1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00206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02060"/>
        </a:buClr>
        <a:buFont typeface="Arial" panose="020B0604020202020204" pitchFamily="34" charset="0"/>
        <a:buChar char="​"/>
        <a:defRPr lang="en-US" sz="1200" kern="1200">
          <a:solidFill>
            <a:srgbClr val="262626"/>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2060"/>
        </a:buClr>
        <a:buFont typeface="Arial" panose="020B0604020202020204" pitchFamily="34" charset="0"/>
        <a:buChar char="•"/>
        <a:defRPr lang="en-US" sz="1200" kern="1200">
          <a:solidFill>
            <a:srgbClr val="262626"/>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2060"/>
        </a:buClr>
        <a:buFont typeface="Trebuchet MS" panose="020B0603020202020204" pitchFamily="34" charset="0"/>
        <a:buChar char="–"/>
        <a:defRPr lang="en-US" sz="1200" kern="1200">
          <a:solidFill>
            <a:srgbClr val="262626"/>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2060"/>
        </a:buClr>
        <a:buFont typeface="Arial" panose="020B0604020202020204" pitchFamily="34" charset="0"/>
        <a:buChar char="​"/>
        <a:defRPr lang="en-US" sz="1600" kern="1200">
          <a:solidFill>
            <a:srgbClr val="00206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2060"/>
        </a:buClr>
        <a:buFont typeface="Arial" panose="020B0604020202020204" pitchFamily="34" charset="0"/>
        <a:buChar char="​"/>
        <a:defRPr lang="en-US" sz="1600" b="1" kern="1200" smtClean="0">
          <a:solidFill>
            <a:srgbClr val="262626"/>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2060"/>
        </a:buClr>
        <a:buFont typeface="Arial" panose="020B0604020202020204" pitchFamily="34" charset="0"/>
        <a:buChar char="•"/>
        <a:defRPr lang="en-US" sz="1600" kern="1200" smtClean="0">
          <a:solidFill>
            <a:srgbClr val="262626"/>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2060"/>
        </a:buClr>
        <a:buFont typeface="Arial" panose="020B0604020202020204" pitchFamily="34" charset="0"/>
        <a:buChar char="​"/>
        <a:defRPr lang="en-US" sz="4400" kern="1200" baseline="0" smtClean="0">
          <a:solidFill>
            <a:srgbClr val="262626"/>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2060"/>
        </a:buClr>
        <a:buFont typeface="Arial" panose="020B0604020202020204" pitchFamily="34" charset="0"/>
        <a:buChar char="​"/>
        <a:defRPr lang="en-US" sz="5400" kern="1200" baseline="0" smtClean="0">
          <a:solidFill>
            <a:srgbClr val="00206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2060"/>
        </a:buClr>
        <a:buFont typeface="Arial" panose="020B0604020202020204" pitchFamily="34" charset="0"/>
        <a:buChar char="​"/>
        <a:defRPr lang="en-US" sz="2400" kern="1200" baseline="0" dirty="0">
          <a:solidFill>
            <a:srgbClr val="002060"/>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6"/>
            </p:custDataLst>
            <p:extLst>
              <p:ext uri="{D42A27DB-BD31-4B8C-83A1-F6EECF244321}">
                <p14:modId xmlns:p14="http://schemas.microsoft.com/office/powerpoint/2010/main" val="6517804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2" name="Object 1"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57079" y="421353"/>
            <a:ext cx="11082528"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57079" y="1825625"/>
            <a:ext cx="11082528"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21" name="Slide Number">
            <a:extLst>
              <a:ext uri="{FF2B5EF4-FFF2-40B4-BE49-F238E27FC236}">
                <a16:creationId xmlns:a16="http://schemas.microsoft.com/office/drawing/2014/main" id="{E4B01BD1-92F8-400D-A988-F44362EEA191}"/>
              </a:ext>
            </a:extLst>
          </p:cNvPr>
          <p:cNvSpPr>
            <a:spLocks noChangeArrowheads="1"/>
          </p:cNvSpPr>
          <p:nvPr userDrawn="1">
            <p:custDataLst>
              <p:tags r:id="rId2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262626"/>
                </a:solidFill>
                <a:latin typeface="Trebuchet MS"/>
                <a:cs typeface="Arial" panose="020B0604020202020204" pitchFamily="34" charset="0"/>
              </a:rPr>
              <a:pPr algn="r" defTabSz="610744">
                <a:defRPr/>
              </a:pPr>
              <a:t>‹#›</a:t>
            </a:fld>
            <a:endParaRPr lang="en-US" sz="900">
              <a:solidFill>
                <a:srgbClr val="262626"/>
              </a:solidFill>
              <a:latin typeface="Trebuchet MS"/>
              <a:cs typeface="Arial" panose="020B0604020202020204" pitchFamily="34" charset="0"/>
            </a:endParaRPr>
          </a:p>
        </p:txBody>
      </p:sp>
      <p:grpSp>
        <p:nvGrpSpPr>
          <p:cNvPr id="3" name="Group 2">
            <a:extLst>
              <a:ext uri="{FF2B5EF4-FFF2-40B4-BE49-F238E27FC236}">
                <a16:creationId xmlns:a16="http://schemas.microsoft.com/office/drawing/2014/main" id="{5FF2A28F-4DD7-492B-1811-4CA365EBE356}"/>
              </a:ext>
            </a:extLst>
          </p:cNvPr>
          <p:cNvGrpSpPr/>
          <p:nvPr userDrawn="1"/>
        </p:nvGrpSpPr>
        <p:grpSpPr>
          <a:xfrm>
            <a:off x="7963242" y="6127738"/>
            <a:ext cx="3510005" cy="644584"/>
            <a:chOff x="7963242" y="6127738"/>
            <a:chExt cx="3510005" cy="644584"/>
          </a:xfrm>
        </p:grpSpPr>
        <p:sp>
          <p:nvSpPr>
            <p:cNvPr id="5" name="Rectangle 4">
              <a:extLst>
                <a:ext uri="{FF2B5EF4-FFF2-40B4-BE49-F238E27FC236}">
                  <a16:creationId xmlns:a16="http://schemas.microsoft.com/office/drawing/2014/main" id="{535A8DAA-3C5A-2F07-D103-166F5F7F578D}"/>
                </a:ext>
              </a:extLst>
            </p:cNvPr>
            <p:cNvSpPr/>
            <p:nvPr/>
          </p:nvSpPr>
          <p:spPr>
            <a:xfrm>
              <a:off x="8163819" y="6127738"/>
              <a:ext cx="3309428" cy="64458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6" name="Picture 5">
              <a:extLst>
                <a:ext uri="{FF2B5EF4-FFF2-40B4-BE49-F238E27FC236}">
                  <a16:creationId xmlns:a16="http://schemas.microsoft.com/office/drawing/2014/main" id="{64C74D84-4813-96DC-4AA9-8C2CD008342D}"/>
                </a:ext>
              </a:extLst>
            </p:cNvPr>
            <p:cNvPicPr>
              <a:picLocks noChangeAspect="1"/>
            </p:cNvPicPr>
            <p:nvPr/>
          </p:nvPicPr>
          <p:blipFill rotWithShape="1">
            <a:blip r:embed="rId30" cstate="print">
              <a:extLst>
                <a:ext uri="{28A0092B-C50C-407E-A947-70E740481C1C}">
                  <a14:useLocalDpi xmlns:a14="http://schemas.microsoft.com/office/drawing/2010/main"/>
                </a:ext>
              </a:extLst>
            </a:blip>
            <a:srcRect l="11445" t="32243" r="12216" b="33508"/>
            <a:stretch/>
          </p:blipFill>
          <p:spPr>
            <a:xfrm>
              <a:off x="9808344" y="6261876"/>
              <a:ext cx="1664903" cy="419866"/>
            </a:xfrm>
            <a:prstGeom prst="rect">
              <a:avLst/>
            </a:prstGeom>
          </p:spPr>
        </p:pic>
        <p:pic>
          <p:nvPicPr>
            <p:cNvPr id="7" name="Picture 6">
              <a:extLst>
                <a:ext uri="{FF2B5EF4-FFF2-40B4-BE49-F238E27FC236}">
                  <a16:creationId xmlns:a16="http://schemas.microsoft.com/office/drawing/2014/main" id="{8FC48479-6BD3-1F32-EE6D-25CCFB7328CE}"/>
                </a:ext>
              </a:extLst>
            </p:cNvPr>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7963242" y="6367567"/>
              <a:ext cx="880680" cy="320949"/>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702CF6D0-7867-9922-FBDF-D0E8F5C2A65B}"/>
                </a:ext>
              </a:extLst>
            </p:cNvPr>
            <p:cNvPicPr>
              <a:picLocks noChangeAspect="1"/>
            </p:cNvPicPr>
            <p:nvPr/>
          </p:nvPicPr>
          <p:blipFill rotWithShape="1">
            <a:blip r:embed="rId32" cstate="print">
              <a:extLst>
                <a:ext uri="{28A0092B-C50C-407E-A947-70E740481C1C}">
                  <a14:useLocalDpi xmlns:a14="http://schemas.microsoft.com/office/drawing/2010/main"/>
                </a:ext>
              </a:extLst>
            </a:blip>
            <a:srcRect/>
            <a:stretch/>
          </p:blipFill>
          <p:spPr>
            <a:xfrm>
              <a:off x="8985541" y="6350526"/>
              <a:ext cx="741720" cy="332749"/>
            </a:xfrm>
            <a:prstGeom prst="rect">
              <a:avLst/>
            </a:prstGeom>
          </p:spPr>
        </p:pic>
      </p:grpSp>
    </p:spTree>
    <p:extLst>
      <p:ext uri="{BB962C8B-B14F-4D97-AF65-F5344CB8AC3E}">
        <p14:creationId xmlns:p14="http://schemas.microsoft.com/office/powerpoint/2010/main" val="3251889493"/>
      </p:ext>
    </p:extLst>
  </p:cSld>
  <p:clrMap bg1="lt1" tx1="dk1" bg2="lt2" tx2="dk2" accent1="accent1" accent2="accent2" accent3="accent3" accent4="accent4" accent5="accent5" accent6="accent6" hlink="hlink" folHlink="folHlink"/>
  <p:sldLayoutIdLst>
    <p:sldLayoutId id="2147485234" r:id="rId1"/>
    <p:sldLayoutId id="2147485235" r:id="rId2"/>
    <p:sldLayoutId id="2147485236" r:id="rId3"/>
    <p:sldLayoutId id="2147485237" r:id="rId4"/>
    <p:sldLayoutId id="2147485238" r:id="rId5"/>
    <p:sldLayoutId id="2147485239" r:id="rId6"/>
    <p:sldLayoutId id="2147485240" r:id="rId7"/>
    <p:sldLayoutId id="2147485241" r:id="rId8"/>
    <p:sldLayoutId id="2147485242" r:id="rId9"/>
    <p:sldLayoutId id="2147485243" r:id="rId10"/>
    <p:sldLayoutId id="2147485244" r:id="rId11"/>
    <p:sldLayoutId id="2147485245" r:id="rId12"/>
    <p:sldLayoutId id="2147485246" r:id="rId13"/>
    <p:sldLayoutId id="2147485247" r:id="rId14"/>
    <p:sldLayoutId id="2147485248" r:id="rId15"/>
    <p:sldLayoutId id="2147485249" r:id="rId16"/>
    <p:sldLayoutId id="2147485250" r:id="rId17"/>
    <p:sldLayoutId id="2147485251" r:id="rId18"/>
    <p:sldLayoutId id="2147485252" r:id="rId19"/>
    <p:sldLayoutId id="2147485253" r:id="rId20"/>
    <p:sldLayoutId id="2147485254" r:id="rId21"/>
    <p:sldLayoutId id="2147485255" r:id="rId22"/>
    <p:sldLayoutId id="2147485256" r:id="rId23"/>
    <p:sldLayoutId id="2147485258" r:id="rId2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00206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02060"/>
        </a:buClr>
        <a:buFont typeface="Arial" panose="020B0604020202020204" pitchFamily="34" charset="0"/>
        <a:buChar char="​"/>
        <a:defRPr lang="en-US" sz="1200" kern="1200">
          <a:solidFill>
            <a:srgbClr val="262626"/>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02060"/>
        </a:buClr>
        <a:buFont typeface="Arial" panose="020B0604020202020204" pitchFamily="34" charset="0"/>
        <a:buChar char="•"/>
        <a:defRPr lang="en-US" sz="1200" kern="1200">
          <a:solidFill>
            <a:srgbClr val="262626"/>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02060"/>
        </a:buClr>
        <a:buFont typeface="Trebuchet MS" panose="020B0603020202020204" pitchFamily="34" charset="0"/>
        <a:buChar char="–"/>
        <a:defRPr lang="en-US" sz="1200" kern="1200">
          <a:solidFill>
            <a:srgbClr val="262626"/>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02060"/>
        </a:buClr>
        <a:buFont typeface="Arial" panose="020B0604020202020204" pitchFamily="34" charset="0"/>
        <a:buChar char="​"/>
        <a:defRPr lang="en-US" sz="1600" kern="1200">
          <a:solidFill>
            <a:srgbClr val="00206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02060"/>
        </a:buClr>
        <a:buFont typeface="Arial" panose="020B0604020202020204" pitchFamily="34" charset="0"/>
        <a:buChar char="​"/>
        <a:defRPr lang="en-US" sz="1600" b="1" kern="1200" smtClean="0">
          <a:solidFill>
            <a:srgbClr val="262626"/>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02060"/>
        </a:buClr>
        <a:buFont typeface="Arial" panose="020B0604020202020204" pitchFamily="34" charset="0"/>
        <a:buChar char="•"/>
        <a:defRPr lang="en-US" sz="1600" kern="1200" smtClean="0">
          <a:solidFill>
            <a:srgbClr val="262626"/>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02060"/>
        </a:buClr>
        <a:buFont typeface="Arial" panose="020B0604020202020204" pitchFamily="34" charset="0"/>
        <a:buChar char="​"/>
        <a:defRPr lang="en-US" sz="4400" kern="1200" baseline="0" smtClean="0">
          <a:solidFill>
            <a:srgbClr val="262626"/>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02060"/>
        </a:buClr>
        <a:buFont typeface="Arial" panose="020B0604020202020204" pitchFamily="34" charset="0"/>
        <a:buChar char="​"/>
        <a:defRPr lang="en-US" sz="5400" kern="1200" baseline="0" smtClean="0">
          <a:solidFill>
            <a:srgbClr val="00206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02060"/>
        </a:buClr>
        <a:buFont typeface="Arial" panose="020B0604020202020204" pitchFamily="34" charset="0"/>
        <a:buChar char="​"/>
        <a:defRPr lang="en-US" sz="2400" kern="1200" baseline="0" dirty="0">
          <a:solidFill>
            <a:srgbClr val="002060"/>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2F7A78B-703E-4429-FE1E-8BCEB77A7542}"/>
              </a:ext>
            </a:extLst>
          </p:cNvPr>
          <p:cNvSpPr>
            <a:spLocks noGrp="1"/>
          </p:cNvSpPr>
          <p:nvPr>
            <p:ph type="title"/>
          </p:nvPr>
        </p:nvSpPr>
        <p:spPr>
          <a:xfrm>
            <a:off x="479425" y="368300"/>
            <a:ext cx="11255375" cy="498598"/>
          </a:xfrm>
          <a:prstGeom prst="rect">
            <a:avLst/>
          </a:prstGeom>
        </p:spPr>
        <p:txBody>
          <a:bodyPr vert="horz" lIns="0" tIns="0" rIns="0" bIns="0" rtlCol="0" anchor="ctr">
            <a:spAutoFit/>
          </a:bodyPr>
          <a:lstStyle/>
          <a:p>
            <a:r>
              <a:rPr lang="en-US" dirty="0"/>
              <a:t>Click to edit Master title style</a:t>
            </a:r>
          </a:p>
        </p:txBody>
      </p:sp>
      <p:sp>
        <p:nvSpPr>
          <p:cNvPr id="3" name="Text Placeholder 2">
            <a:extLst>
              <a:ext uri="{FF2B5EF4-FFF2-40B4-BE49-F238E27FC236}">
                <a16:creationId xmlns:a16="http://schemas.microsoft.com/office/drawing/2014/main" id="{C8D71D54-742B-F76D-E682-B44A28D46313}"/>
              </a:ext>
            </a:extLst>
          </p:cNvPr>
          <p:cNvSpPr>
            <a:spLocks noGrp="1"/>
          </p:cNvSpPr>
          <p:nvPr>
            <p:ph type="body" idx="1"/>
          </p:nvPr>
        </p:nvSpPr>
        <p:spPr>
          <a:xfrm>
            <a:off x="493713" y="1134319"/>
            <a:ext cx="11255375" cy="460531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3159555"/>
      </p:ext>
    </p:extLst>
  </p:cSld>
  <p:clrMap bg1="lt1" tx1="dk1" bg2="lt2" tx2="dk2" accent1="accent1" accent2="accent2" accent3="accent3" accent4="accent4" accent5="accent5" accent6="accent6" hlink="hlink" folHlink="folHlink"/>
  <p:sldLayoutIdLst>
    <p:sldLayoutId id="2147485282" r:id="rId1"/>
    <p:sldLayoutId id="2147485283" r:id="rId2"/>
    <p:sldLayoutId id="2147485284" r:id="rId3"/>
    <p:sldLayoutId id="2147485285" r:id="rId4"/>
    <p:sldLayoutId id="2147485286" r:id="rId5"/>
    <p:sldLayoutId id="2147485287" r:id="rId6"/>
    <p:sldLayoutId id="2147485288" r:id="rId7"/>
    <p:sldLayoutId id="2147485289" r:id="rId8"/>
    <p:sldLayoutId id="2147485290" r:id="rId9"/>
    <p:sldLayoutId id="2147485291" r:id="rId10"/>
    <p:sldLayoutId id="2147485292" r:id="rId11"/>
  </p:sldLayoutIdLs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401">
          <p15:clr>
            <a:srgbClr val="F26B43"/>
          </p15:clr>
        </p15:guide>
        <p15:guide id="3" orient="horz" pos="232">
          <p15:clr>
            <a:srgbClr val="F26B43"/>
          </p15:clr>
        </p15:guide>
        <p15:guide id="4" orient="horz" pos="40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54.xml"/><Relationship Id="rId5" Type="http://schemas.openxmlformats.org/officeDocument/2006/relationships/image" Target="../media/image26.emf"/><Relationship Id="rId4" Type="http://schemas.openxmlformats.org/officeDocument/2006/relationships/oleObject" Target="../embeddings/oleObject8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55.xml"/><Relationship Id="rId5" Type="http://schemas.openxmlformats.org/officeDocument/2006/relationships/image" Target="../media/image26.emf"/><Relationship Id="rId4" Type="http://schemas.openxmlformats.org/officeDocument/2006/relationships/oleObject" Target="../embeddings/oleObject83.bin"/></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8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1.emf"/><Relationship Id="rId1" Type="http://schemas.openxmlformats.org/officeDocument/2006/relationships/slideLayout" Target="../slideLayouts/slideLayout15.xml"/><Relationship Id="rId4" Type="http://schemas.openxmlformats.org/officeDocument/2006/relationships/image" Target="../media/image36.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156.xml"/><Relationship Id="rId5" Type="http://schemas.openxmlformats.org/officeDocument/2006/relationships/image" Target="../media/image26.emf"/><Relationship Id="rId4" Type="http://schemas.openxmlformats.org/officeDocument/2006/relationships/oleObject" Target="../embeddings/oleObject84.bin"/></Relationships>
</file>

<file path=ppt/slides/_rels/slide17.xml.rels><?xml version="1.0" encoding="UTF-8" standalone="yes"?>
<Relationships xmlns="http://schemas.openxmlformats.org/package/2006/relationships"><Relationship Id="rId3" Type="http://schemas.openxmlformats.org/officeDocument/2006/relationships/image" Target="../media/image37.gif"/><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3.xml"/><Relationship Id="rId1" Type="http://schemas.openxmlformats.org/officeDocument/2006/relationships/tags" Target="../tags/tag148.xml"/><Relationship Id="rId5" Type="http://schemas.openxmlformats.org/officeDocument/2006/relationships/image" Target="../media/image26.emf"/><Relationship Id="rId4" Type="http://schemas.openxmlformats.org/officeDocument/2006/relationships/oleObject" Target="../embeddings/oleObject76.bin"/></Relationships>
</file>

<file path=ppt/slides/_rels/slide3.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notesSlide" Target="../notesSlides/notesSlide3.xml"/><Relationship Id="rId7" Type="http://schemas.openxmlformats.org/officeDocument/2006/relationships/image" Target="../media/image29.png"/><Relationship Id="rId2" Type="http://schemas.openxmlformats.org/officeDocument/2006/relationships/slideLayout" Target="../slideLayouts/slideLayout21.xml"/><Relationship Id="rId1" Type="http://schemas.openxmlformats.org/officeDocument/2006/relationships/tags" Target="../tags/tag149.xml"/><Relationship Id="rId6" Type="http://schemas.openxmlformats.org/officeDocument/2006/relationships/image" Target="../media/image28.jpeg"/><Relationship Id="rId5" Type="http://schemas.openxmlformats.org/officeDocument/2006/relationships/image" Target="../media/image27.emf"/><Relationship Id="rId4" Type="http://schemas.openxmlformats.org/officeDocument/2006/relationships/oleObject" Target="../embeddings/oleObject77.bin"/></Relationships>
</file>

<file path=ppt/slides/_rels/slide4.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3.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50.xml"/><Relationship Id="rId5" Type="http://schemas.openxmlformats.org/officeDocument/2006/relationships/image" Target="../media/image26.emf"/><Relationship Id="rId4" Type="http://schemas.openxmlformats.org/officeDocument/2006/relationships/oleObject" Target="../embeddings/oleObject7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51.xml"/><Relationship Id="rId5" Type="http://schemas.openxmlformats.org/officeDocument/2006/relationships/image" Target="../media/image26.emf"/><Relationship Id="rId4" Type="http://schemas.openxmlformats.org/officeDocument/2006/relationships/oleObject" Target="../embeddings/oleObject7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52.xml"/><Relationship Id="rId5" Type="http://schemas.openxmlformats.org/officeDocument/2006/relationships/image" Target="../media/image26.emf"/><Relationship Id="rId4" Type="http://schemas.openxmlformats.org/officeDocument/2006/relationships/oleObject" Target="../embeddings/oleObject8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53.xml"/><Relationship Id="rId5" Type="http://schemas.openxmlformats.org/officeDocument/2006/relationships/image" Target="../media/image26.emf"/><Relationship Id="rId4" Type="http://schemas.openxmlformats.org/officeDocument/2006/relationships/oleObject" Target="../embeddings/oleObject8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5"/>
        <p:cNvGrpSpPr/>
        <p:nvPr/>
      </p:nvGrpSpPr>
      <p:grpSpPr>
        <a:xfrm>
          <a:off x="0" y="0"/>
          <a:ext cx="0" cy="0"/>
          <a:chOff x="0" y="0"/>
          <a:chExt cx="0" cy="0"/>
        </a:xfrm>
      </p:grpSpPr>
      <p:sp>
        <p:nvSpPr>
          <p:cNvPr id="3" name="Text Placeholder 2">
            <a:extLst>
              <a:ext uri="{FF2B5EF4-FFF2-40B4-BE49-F238E27FC236}">
                <a16:creationId xmlns:a16="http://schemas.microsoft.com/office/drawing/2014/main" id="{5F80F7DE-4416-47C6-61E0-49826CB38EA7}"/>
              </a:ext>
            </a:extLst>
          </p:cNvPr>
          <p:cNvSpPr>
            <a:spLocks noGrp="1"/>
          </p:cNvSpPr>
          <p:nvPr>
            <p:ph type="body" sz="quarter" idx="11"/>
          </p:nvPr>
        </p:nvSpPr>
        <p:spPr>
          <a:xfrm>
            <a:off x="4027055" y="5674683"/>
            <a:ext cx="7769762" cy="215444"/>
          </a:xfrm>
        </p:spPr>
        <p:txBody>
          <a:bodyPr/>
          <a:lstStyle/>
          <a:p>
            <a:pPr lvl="0"/>
            <a:r>
              <a:rPr lang="en-US" dirty="0">
                <a:sym typeface="Calibri"/>
              </a:rPr>
              <a:t>13 September 2023</a:t>
            </a:r>
            <a:endParaRPr lang="es-AR" dirty="0"/>
          </a:p>
        </p:txBody>
      </p:sp>
      <p:sp>
        <p:nvSpPr>
          <p:cNvPr id="97" name="Google Shape;97;p1"/>
          <p:cNvSpPr txBox="1">
            <a:spLocks noGrp="1"/>
          </p:cNvSpPr>
          <p:nvPr>
            <p:ph type="body" sz="quarter" idx="10"/>
          </p:nvPr>
        </p:nvSpPr>
        <p:spPr>
          <a:xfrm>
            <a:off x="5760720" y="4622801"/>
            <a:ext cx="6035993" cy="927100"/>
          </a:xfrm>
          <a:noFill/>
          <a:ln>
            <a:noFill/>
          </a:ln>
        </p:spPr>
        <p:txBody>
          <a:bodyPr spcFirstLastPara="1" wrap="square" lIns="0" tIns="45700" rIns="91425" bIns="45700" anchor="t" anchorCtr="0">
            <a:noAutofit/>
          </a:bodyPr>
          <a:lstStyle/>
          <a:p>
            <a:pPr lvl="0"/>
            <a:r>
              <a:rPr lang="en-US" dirty="0"/>
              <a:t>Consensus from the Postpartum Haemorrhage Summit</a:t>
            </a:r>
            <a:endParaRPr lang="en-US" dirty="0">
              <a:sym typeface="Calibri"/>
            </a:endParaRPr>
          </a:p>
        </p:txBody>
      </p:sp>
      <p:sp>
        <p:nvSpPr>
          <p:cNvPr id="96" name="Google Shape;96;p1"/>
          <p:cNvSpPr txBox="1">
            <a:spLocks noGrp="1"/>
          </p:cNvSpPr>
          <p:nvPr>
            <p:ph type="title"/>
          </p:nvPr>
        </p:nvSpPr>
        <p:spPr>
          <a:xfrm>
            <a:off x="2936240" y="2229485"/>
            <a:ext cx="8860473" cy="2131060"/>
          </a:xfrm>
          <a:noFill/>
          <a:ln>
            <a:noFill/>
          </a:ln>
        </p:spPr>
        <p:txBody>
          <a:bodyPr spcFirstLastPara="1" wrap="square" lIns="0" tIns="45700" rIns="91425" bIns="45700" anchor="b" anchorCtr="0">
            <a:noAutofit/>
          </a:bodyPr>
          <a:lstStyle/>
          <a:p>
            <a:r>
              <a:rPr lang="en-US" dirty="0">
                <a:solidFill>
                  <a:schemeClr val="bg1"/>
                </a:solidFill>
              </a:rPr>
              <a:t>A Roadmap and Call-to-Action to Combat Postpartum </a:t>
            </a:r>
            <a:r>
              <a:rPr lang="en-US" dirty="0" err="1">
                <a:solidFill>
                  <a:schemeClr val="bg1"/>
                </a:solidFill>
              </a:rPr>
              <a:t>Haemorrhage</a:t>
            </a:r>
            <a:r>
              <a:rPr lang="en-US" dirty="0">
                <a:solidFill>
                  <a:schemeClr val="bg1"/>
                </a:solidFill>
              </a:rPr>
              <a:t> from 2023 to 2030</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27431F-ECC8-4C5F-09A4-F07431047F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Object 3" hidden="1">
                        <a:extLst>
                          <a:ext uri="{FF2B5EF4-FFF2-40B4-BE49-F238E27FC236}">
                            <a16:creationId xmlns:a16="http://schemas.microsoft.com/office/drawing/2014/main" id="{EA27431F-ECC8-4C5F-09A4-F07431047F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a:extLst>
              <a:ext uri="{FF2B5EF4-FFF2-40B4-BE49-F238E27FC236}">
                <a16:creationId xmlns:a16="http://schemas.microsoft.com/office/drawing/2014/main" id="{5FBBC4E6-86FD-63A9-49D4-1ADD15CB86B2}"/>
              </a:ext>
            </a:extLst>
          </p:cNvPr>
          <p:cNvSpPr/>
          <p:nvPr/>
        </p:nvSpPr>
        <p:spPr>
          <a:xfrm>
            <a:off x="10376637" y="1448596"/>
            <a:ext cx="1529613" cy="4791548"/>
          </a:xfrm>
          <a:prstGeom prst="rect">
            <a:avLst/>
          </a:prstGeom>
          <a:solidFill>
            <a:srgbClr val="CAE5E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06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a:extLst>
              <a:ext uri="{FF2B5EF4-FFF2-40B4-BE49-F238E27FC236}">
                <a16:creationId xmlns:a16="http://schemas.microsoft.com/office/drawing/2014/main" id="{8E40274F-E4B1-6B1E-4757-E5678CAE32AA}"/>
              </a:ext>
            </a:extLst>
          </p:cNvPr>
          <p:cNvSpPr>
            <a:spLocks noGrp="1"/>
          </p:cNvSpPr>
          <p:nvPr>
            <p:ph type="title"/>
          </p:nvPr>
        </p:nvSpPr>
        <p:spPr>
          <a:xfrm>
            <a:off x="459784" y="576503"/>
            <a:ext cx="11082528" cy="332399"/>
          </a:xfrm>
        </p:spPr>
        <p:txBody>
          <a:bodyPr vert="horz"/>
          <a:lstStyle/>
          <a:p>
            <a:r>
              <a:rPr lang="en-US" b="1" dirty="0"/>
              <a:t>Roadmap to accelerate progress on Postpartum </a:t>
            </a:r>
            <a:r>
              <a:rPr lang="en-US" b="1" dirty="0" err="1"/>
              <a:t>Haemorrhage</a:t>
            </a:r>
            <a:endParaRPr lang="en-US" b="1" dirty="0"/>
          </a:p>
        </p:txBody>
      </p:sp>
      <p:sp>
        <p:nvSpPr>
          <p:cNvPr id="71" name="Isosceles Triangle 70">
            <a:extLst>
              <a:ext uri="{FF2B5EF4-FFF2-40B4-BE49-F238E27FC236}">
                <a16:creationId xmlns:a16="http://schemas.microsoft.com/office/drawing/2014/main" id="{6D471EAA-EFC1-964C-8A0C-74F39F8D3C52}"/>
              </a:ext>
            </a:extLst>
          </p:cNvPr>
          <p:cNvSpPr>
            <a:spLocks/>
          </p:cNvSpPr>
          <p:nvPr/>
        </p:nvSpPr>
        <p:spPr>
          <a:xfrm flipV="1">
            <a:off x="5010603" y="5696424"/>
            <a:ext cx="182257" cy="151981"/>
          </a:xfrm>
          <a:prstGeom prst="triangle">
            <a:avLst/>
          </a:prstGeom>
          <a:solidFill>
            <a:srgbClr val="E71C57"/>
          </a:solidFill>
          <a:ln w="9525" cap="rnd" cmpd="sng" algn="ctr">
            <a:solidFill>
              <a:srgbClr val="E71C5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72" name="ee4pContent1">
            <a:extLst>
              <a:ext uri="{FF2B5EF4-FFF2-40B4-BE49-F238E27FC236}">
                <a16:creationId xmlns:a16="http://schemas.microsoft.com/office/drawing/2014/main" id="{A9059DD4-A81B-7AE3-197B-BCDE6C593976}"/>
              </a:ext>
            </a:extLst>
          </p:cNvPr>
          <p:cNvSpPr txBox="1"/>
          <p:nvPr/>
        </p:nvSpPr>
        <p:spPr>
          <a:xfrm>
            <a:off x="3832039" y="5781029"/>
            <a:ext cx="1559806" cy="459114"/>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marR="0" lvl="0" algn="r"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lang="en-US" sz="1100" b="1" dirty="0">
                <a:solidFill>
                  <a:srgbClr val="002060"/>
                </a:solidFill>
              </a:rPr>
              <a:t>Global branding strategy </a:t>
            </a:r>
            <a:r>
              <a:rPr lang="en-US" sz="1100" dirty="0"/>
              <a:t>and advocacy framework</a:t>
            </a:r>
          </a:p>
        </p:txBody>
      </p:sp>
      <p:sp>
        <p:nvSpPr>
          <p:cNvPr id="75" name="Isosceles Triangle 74">
            <a:extLst>
              <a:ext uri="{FF2B5EF4-FFF2-40B4-BE49-F238E27FC236}">
                <a16:creationId xmlns:a16="http://schemas.microsoft.com/office/drawing/2014/main" id="{32B0E475-76E5-E953-C93B-9830BDBD09C4}"/>
              </a:ext>
            </a:extLst>
          </p:cNvPr>
          <p:cNvSpPr>
            <a:spLocks/>
          </p:cNvSpPr>
          <p:nvPr/>
        </p:nvSpPr>
        <p:spPr>
          <a:xfrm flipV="1">
            <a:off x="5801907" y="5696424"/>
            <a:ext cx="182257" cy="151981"/>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88" name="ee4pContent1">
            <a:extLst>
              <a:ext uri="{FF2B5EF4-FFF2-40B4-BE49-F238E27FC236}">
                <a16:creationId xmlns:a16="http://schemas.microsoft.com/office/drawing/2014/main" id="{D4C4D371-CDB4-8173-ED97-3F3B210DEFD7}"/>
              </a:ext>
            </a:extLst>
          </p:cNvPr>
          <p:cNvSpPr txBox="1"/>
          <p:nvPr/>
        </p:nvSpPr>
        <p:spPr>
          <a:xfrm>
            <a:off x="5609798" y="5841309"/>
            <a:ext cx="566476" cy="338554"/>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marR="0" lvl="0" algn="r"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lang="en-US" sz="1100" dirty="0">
                <a:solidFill>
                  <a:srgbClr val="262626"/>
                </a:solidFill>
              </a:rPr>
              <a:t>1</a:t>
            </a:r>
            <a:r>
              <a:rPr lang="en-US" sz="1100" baseline="30000" dirty="0">
                <a:solidFill>
                  <a:srgbClr val="262626"/>
                </a:solidFill>
              </a:rPr>
              <a:t>st</a:t>
            </a:r>
            <a:r>
              <a:rPr lang="en-US" sz="1100" dirty="0">
                <a:solidFill>
                  <a:srgbClr val="262626"/>
                </a:solidFill>
              </a:rPr>
              <a:t> Global </a:t>
            </a:r>
            <a:r>
              <a:rPr lang="en-US" sz="1100" b="1" dirty="0">
                <a:solidFill>
                  <a:srgbClr val="002060"/>
                </a:solidFill>
              </a:rPr>
              <a:t>PPH day</a:t>
            </a:r>
          </a:p>
        </p:txBody>
      </p:sp>
      <p:cxnSp>
        <p:nvCxnSpPr>
          <p:cNvPr id="87" name="Straight Connector 86">
            <a:extLst>
              <a:ext uri="{FF2B5EF4-FFF2-40B4-BE49-F238E27FC236}">
                <a16:creationId xmlns:a16="http://schemas.microsoft.com/office/drawing/2014/main" id="{4A261815-3363-A72A-23A5-A72E3E6ED436}"/>
              </a:ext>
            </a:extLst>
          </p:cNvPr>
          <p:cNvCxnSpPr>
            <a:cxnSpLocks/>
          </p:cNvCxnSpPr>
          <p:nvPr/>
        </p:nvCxnSpPr>
        <p:spPr>
          <a:xfrm>
            <a:off x="457080" y="1454093"/>
            <a:ext cx="11449170" cy="0"/>
          </a:xfrm>
          <a:prstGeom prst="line">
            <a:avLst/>
          </a:prstGeom>
          <a:ln w="17145" cap="flat" cmpd="sng" algn="ctr">
            <a:solidFill>
              <a:srgbClr val="000000"/>
            </a:solidFill>
            <a:prstDash val="solid"/>
            <a:round/>
            <a:headEnd type="none" w="med" len="med"/>
            <a:tailEnd type="none" w="med" len="med"/>
          </a:ln>
        </p:spPr>
      </p:cxnSp>
      <p:sp>
        <p:nvSpPr>
          <p:cNvPr id="12" name="Isosceles Triangle 11">
            <a:extLst>
              <a:ext uri="{FF2B5EF4-FFF2-40B4-BE49-F238E27FC236}">
                <a16:creationId xmlns:a16="http://schemas.microsoft.com/office/drawing/2014/main" id="{05749DB0-43EE-347A-0C85-960099D74903}"/>
              </a:ext>
            </a:extLst>
          </p:cNvPr>
          <p:cNvSpPr>
            <a:spLocks/>
          </p:cNvSpPr>
          <p:nvPr/>
        </p:nvSpPr>
        <p:spPr>
          <a:xfrm flipV="1">
            <a:off x="4178546" y="1646985"/>
            <a:ext cx="182257" cy="140352"/>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381" tIns="64191" rIns="128381" bIns="64191" numCol="1" spcCol="0" rtlCol="0" fromWordArt="0" anchor="ctr" anchorCtr="0" forceAA="0" compatLnSpc="1">
            <a:prstTxWarp prst="textNoShape">
              <a:avLst/>
            </a:prstTxWarp>
            <a:noAutofit/>
          </a:bodyPr>
          <a:lstStyle/>
          <a:p>
            <a:pPr algn="ctr"/>
            <a:endParaRPr lang="en-US" sz="1000" dirty="0">
              <a:solidFill>
                <a:srgbClr val="FFFFFF"/>
              </a:solidFill>
              <a:cs typeface="Calibri Light" panose="020F0302020204030204" pitchFamily="34" charset="0"/>
              <a:sym typeface="Calibri Light" panose="020F0302020204030204" pitchFamily="34" charset="0"/>
            </a:endParaRPr>
          </a:p>
        </p:txBody>
      </p:sp>
      <p:sp>
        <p:nvSpPr>
          <p:cNvPr id="15" name="ee4pContent1">
            <a:extLst>
              <a:ext uri="{FF2B5EF4-FFF2-40B4-BE49-F238E27FC236}">
                <a16:creationId xmlns:a16="http://schemas.microsoft.com/office/drawing/2014/main" id="{644E12C7-97A7-310F-B216-C38D39EF32F3}"/>
              </a:ext>
            </a:extLst>
          </p:cNvPr>
          <p:cNvSpPr txBox="1"/>
          <p:nvPr/>
        </p:nvSpPr>
        <p:spPr>
          <a:xfrm>
            <a:off x="3625635" y="1803109"/>
            <a:ext cx="1288080"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b="1" kern="1200" dirty="0">
                <a:solidFill>
                  <a:srgbClr val="002060"/>
                </a:solidFill>
                <a:effectLst/>
              </a:rPr>
              <a:t>Calls for proposals</a:t>
            </a:r>
            <a:r>
              <a:rPr lang="en-US" sz="1100" kern="1200" dirty="0">
                <a:solidFill>
                  <a:srgbClr val="262626"/>
                </a:solidFill>
                <a:effectLst/>
              </a:rPr>
              <a:t> to conduct top priority research</a:t>
            </a:r>
            <a:endParaRPr lang="en-US" sz="1100" dirty="0">
              <a:effectLst/>
              <a:ea typeface="Calibri" panose="020F0502020204030204" pitchFamily="34" charset="0"/>
              <a:cs typeface="Calibri" panose="020F0502020204030204" pitchFamily="34" charset="0"/>
            </a:endParaRPr>
          </a:p>
        </p:txBody>
      </p:sp>
      <p:sp>
        <p:nvSpPr>
          <p:cNvPr id="86" name="Isosceles Triangle 85">
            <a:extLst>
              <a:ext uri="{FF2B5EF4-FFF2-40B4-BE49-F238E27FC236}">
                <a16:creationId xmlns:a16="http://schemas.microsoft.com/office/drawing/2014/main" id="{BE9917D7-2FE7-5829-DD48-D5FDFFE323EA}"/>
              </a:ext>
            </a:extLst>
          </p:cNvPr>
          <p:cNvSpPr>
            <a:spLocks/>
          </p:cNvSpPr>
          <p:nvPr/>
        </p:nvSpPr>
        <p:spPr>
          <a:xfrm flipV="1">
            <a:off x="5396067" y="2603259"/>
            <a:ext cx="182257" cy="140352"/>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103" name="ee4pContent1">
            <a:extLst>
              <a:ext uri="{FF2B5EF4-FFF2-40B4-BE49-F238E27FC236}">
                <a16:creationId xmlns:a16="http://schemas.microsoft.com/office/drawing/2014/main" id="{154FA9E1-451F-8155-C2DC-A4D72CCD4E64}"/>
              </a:ext>
            </a:extLst>
          </p:cNvPr>
          <p:cNvSpPr txBox="1"/>
          <p:nvPr/>
        </p:nvSpPr>
        <p:spPr>
          <a:xfrm>
            <a:off x="5066983" y="2761844"/>
            <a:ext cx="1868130"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kern="1200" dirty="0">
                <a:solidFill>
                  <a:srgbClr val="262626"/>
                </a:solidFill>
                <a:effectLst/>
              </a:rPr>
              <a:t>Publication and updating of </a:t>
            </a:r>
            <a:r>
              <a:rPr lang="en-US" sz="1100" b="1" kern="1200" dirty="0">
                <a:solidFill>
                  <a:srgbClr val="002060"/>
                </a:solidFill>
                <a:effectLst/>
              </a:rPr>
              <a:t>consolidated guidelines and derivative tools</a:t>
            </a:r>
            <a:endParaRPr lang="en-US" sz="1100" dirty="0">
              <a:effectLst/>
              <a:ea typeface="Calibri" panose="020F0502020204030204" pitchFamily="34" charset="0"/>
              <a:cs typeface="Calibri" panose="020F0502020204030204" pitchFamily="34" charset="0"/>
            </a:endParaRPr>
          </a:p>
        </p:txBody>
      </p:sp>
      <p:cxnSp>
        <p:nvCxnSpPr>
          <p:cNvPr id="59" name="Straight Connector 58">
            <a:extLst>
              <a:ext uri="{FF2B5EF4-FFF2-40B4-BE49-F238E27FC236}">
                <a16:creationId xmlns:a16="http://schemas.microsoft.com/office/drawing/2014/main" id="{C2A97701-47D0-9BEF-D0CE-D576BB47785A}"/>
              </a:ext>
            </a:extLst>
          </p:cNvPr>
          <p:cNvCxnSpPr/>
          <p:nvPr/>
        </p:nvCxnSpPr>
        <p:spPr>
          <a:xfrm>
            <a:off x="457078" y="3456185"/>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91790CB-907C-864C-6EE1-ACC8767A8BF3}"/>
              </a:ext>
            </a:extLst>
          </p:cNvPr>
          <p:cNvCxnSpPr>
            <a:cxnSpLocks/>
          </p:cNvCxnSpPr>
          <p:nvPr/>
        </p:nvCxnSpPr>
        <p:spPr>
          <a:xfrm>
            <a:off x="457080" y="2452067"/>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B9F747E-05CD-2096-5A92-265588BC9176}"/>
              </a:ext>
            </a:extLst>
          </p:cNvPr>
          <p:cNvCxnSpPr/>
          <p:nvPr/>
        </p:nvCxnSpPr>
        <p:spPr>
          <a:xfrm>
            <a:off x="457078" y="5161343"/>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122" name="Isosceles Triangle 121">
            <a:extLst>
              <a:ext uri="{FF2B5EF4-FFF2-40B4-BE49-F238E27FC236}">
                <a16:creationId xmlns:a16="http://schemas.microsoft.com/office/drawing/2014/main" id="{DA807613-63D6-63C9-4738-E0523C80C84E}"/>
              </a:ext>
            </a:extLst>
          </p:cNvPr>
          <p:cNvSpPr>
            <a:spLocks/>
          </p:cNvSpPr>
          <p:nvPr/>
        </p:nvSpPr>
        <p:spPr>
          <a:xfrm flipV="1">
            <a:off x="7397161" y="1629513"/>
            <a:ext cx="182257" cy="140352"/>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127" name="ee4pContent1">
            <a:extLst>
              <a:ext uri="{FF2B5EF4-FFF2-40B4-BE49-F238E27FC236}">
                <a16:creationId xmlns:a16="http://schemas.microsoft.com/office/drawing/2014/main" id="{93A24DB2-AAF6-9AB3-E422-9FB53185FC4D}"/>
              </a:ext>
            </a:extLst>
          </p:cNvPr>
          <p:cNvSpPr txBox="1"/>
          <p:nvPr/>
        </p:nvSpPr>
        <p:spPr>
          <a:xfrm>
            <a:off x="6143397" y="1803109"/>
            <a:ext cx="2689786"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b="1" kern="1200" dirty="0">
                <a:solidFill>
                  <a:srgbClr val="002060"/>
                </a:solidFill>
                <a:effectLst/>
              </a:rPr>
              <a:t>Publication &amp; dissemination of results completed for the first batch</a:t>
            </a:r>
            <a:r>
              <a:rPr lang="en-US" sz="1100" kern="1200" dirty="0">
                <a:solidFill>
                  <a:srgbClr val="262626"/>
                </a:solidFill>
                <a:effectLst/>
                <a:ea typeface="Calibri" panose="020F0502020204030204" pitchFamily="34" charset="0"/>
                <a:cs typeface="Mangal" panose="02040503050203030202" pitchFamily="18" charset="0"/>
              </a:rPr>
              <a:t> of funded research for integration into global guidelines</a:t>
            </a:r>
            <a:endParaRPr lang="en-US" sz="1100" dirty="0">
              <a:effectLst/>
              <a:ea typeface="Calibri" panose="020F0502020204030204" pitchFamily="34" charset="0"/>
              <a:cs typeface="Calibri" panose="020F0502020204030204" pitchFamily="34" charset="0"/>
            </a:endParaRPr>
          </a:p>
        </p:txBody>
      </p:sp>
      <p:sp>
        <p:nvSpPr>
          <p:cNvPr id="28" name="Rectangle 27">
            <a:extLst>
              <a:ext uri="{FF2B5EF4-FFF2-40B4-BE49-F238E27FC236}">
                <a16:creationId xmlns:a16="http://schemas.microsoft.com/office/drawing/2014/main" id="{BFD558AF-6B7D-2F9E-52CC-B7D254AD25E7}"/>
              </a:ext>
            </a:extLst>
          </p:cNvPr>
          <p:cNvSpPr/>
          <p:nvPr/>
        </p:nvSpPr>
        <p:spPr>
          <a:xfrm>
            <a:off x="10365666" y="1625491"/>
            <a:ext cx="1540584" cy="73866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dirty="0">
                <a:solidFill>
                  <a:srgbClr val="262626"/>
                </a:solidFill>
              </a:rPr>
              <a:t>All </a:t>
            </a:r>
            <a:r>
              <a:rPr lang="en-US" sz="1000" b="1" dirty="0">
                <a:solidFill>
                  <a:srgbClr val="0070C0"/>
                </a:solidFill>
              </a:rPr>
              <a:t>priority questions </a:t>
            </a:r>
            <a:r>
              <a:rPr lang="en-US" sz="1000" dirty="0">
                <a:solidFill>
                  <a:srgbClr val="262626"/>
                </a:solidFill>
              </a:rPr>
              <a:t>of the research agenda have been </a:t>
            </a:r>
            <a:r>
              <a:rPr lang="en-US" sz="1000" b="1" dirty="0">
                <a:solidFill>
                  <a:srgbClr val="0070C0"/>
                </a:solidFill>
              </a:rPr>
              <a:t>answered</a:t>
            </a:r>
          </a:p>
        </p:txBody>
      </p:sp>
      <p:sp>
        <p:nvSpPr>
          <p:cNvPr id="33" name="Rectangle 32">
            <a:extLst>
              <a:ext uri="{FF2B5EF4-FFF2-40B4-BE49-F238E27FC236}">
                <a16:creationId xmlns:a16="http://schemas.microsoft.com/office/drawing/2014/main" id="{A4E5630D-FDB3-13A9-83EF-81F32D1CC222}"/>
              </a:ext>
            </a:extLst>
          </p:cNvPr>
          <p:cNvSpPr/>
          <p:nvPr/>
        </p:nvSpPr>
        <p:spPr>
          <a:xfrm>
            <a:off x="10392215" y="2427559"/>
            <a:ext cx="1508298" cy="1058024"/>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b="1" dirty="0">
                <a:solidFill>
                  <a:srgbClr val="0070C0"/>
                </a:solidFill>
              </a:rPr>
              <a:t>Global guidelines </a:t>
            </a:r>
            <a:r>
              <a:rPr lang="en-US" sz="1000" dirty="0">
                <a:solidFill>
                  <a:srgbClr val="262626"/>
                </a:solidFill>
              </a:rPr>
              <a:t>reflect latest evidence available, and are cascaded into </a:t>
            </a:r>
            <a:r>
              <a:rPr lang="en-US" sz="1000" b="1" dirty="0">
                <a:solidFill>
                  <a:srgbClr val="0070C0"/>
                </a:solidFill>
              </a:rPr>
              <a:t>national guidelines</a:t>
            </a:r>
            <a:r>
              <a:rPr lang="en-US" sz="1000" dirty="0">
                <a:solidFill>
                  <a:srgbClr val="262626"/>
                </a:solidFill>
              </a:rPr>
              <a:t>, with clear clinical protocols</a:t>
            </a:r>
          </a:p>
        </p:txBody>
      </p:sp>
      <p:sp>
        <p:nvSpPr>
          <p:cNvPr id="37" name="Rectangle 36">
            <a:extLst>
              <a:ext uri="{FF2B5EF4-FFF2-40B4-BE49-F238E27FC236}">
                <a16:creationId xmlns:a16="http://schemas.microsoft.com/office/drawing/2014/main" id="{6F093D76-7A15-3A77-1CB1-5CBCB051ED5C}"/>
              </a:ext>
            </a:extLst>
          </p:cNvPr>
          <p:cNvSpPr/>
          <p:nvPr/>
        </p:nvSpPr>
        <p:spPr>
          <a:xfrm>
            <a:off x="10365666" y="5159713"/>
            <a:ext cx="1540584" cy="1118325"/>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Successful </a:t>
            </a:r>
            <a:r>
              <a:rPr lang="en-US" sz="1000" b="1" dirty="0">
                <a:solidFill>
                  <a:srgbClr val="0070C0"/>
                </a:solidFill>
              </a:rPr>
              <a:t>engagement</a:t>
            </a:r>
            <a:r>
              <a:rPr lang="en-US" sz="990" dirty="0">
                <a:solidFill>
                  <a:srgbClr val="262626"/>
                </a:solidFill>
              </a:rPr>
              <a:t> of all target audiences</a:t>
            </a:r>
          </a:p>
        </p:txBody>
      </p:sp>
      <p:sp>
        <p:nvSpPr>
          <p:cNvPr id="52" name="Rectangle 51">
            <a:extLst>
              <a:ext uri="{FF2B5EF4-FFF2-40B4-BE49-F238E27FC236}">
                <a16:creationId xmlns:a16="http://schemas.microsoft.com/office/drawing/2014/main" id="{880152E6-9F98-95E0-7F52-1D8F4B9FA47D}"/>
              </a:ext>
            </a:extLst>
          </p:cNvPr>
          <p:cNvSpPr/>
          <p:nvPr/>
        </p:nvSpPr>
        <p:spPr>
          <a:xfrm>
            <a:off x="10376637" y="980477"/>
            <a:ext cx="1529613" cy="293659"/>
          </a:xfrm>
          <a:prstGeom prst="rect">
            <a:avLst/>
          </a:prstGeom>
          <a:solidFill>
            <a:srgbClr val="CAE5E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06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0070C0"/>
                </a:solidFill>
              </a:rPr>
              <a:t>Objective</a:t>
            </a:r>
          </a:p>
        </p:txBody>
      </p:sp>
      <p:sp>
        <p:nvSpPr>
          <p:cNvPr id="29" name="Arrow: Chevron 28">
            <a:extLst>
              <a:ext uri="{FF2B5EF4-FFF2-40B4-BE49-F238E27FC236}">
                <a16:creationId xmlns:a16="http://schemas.microsoft.com/office/drawing/2014/main" id="{408B3DFE-0689-D9CC-1C1C-1CC48019BD29}"/>
              </a:ext>
            </a:extLst>
          </p:cNvPr>
          <p:cNvSpPr/>
          <p:nvPr/>
        </p:nvSpPr>
        <p:spPr>
          <a:xfrm>
            <a:off x="1448148" y="980477"/>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60" b="0" i="0" u="none" strike="noStrike" kern="1200" cap="none" spc="0" normalizeH="0" baseline="0" noProof="0" dirty="0">
                <a:ln>
                  <a:noFill/>
                </a:ln>
                <a:solidFill>
                  <a:srgbClr val="FFFFFF"/>
                </a:solidFill>
                <a:effectLst/>
                <a:uLnTx/>
                <a:uFillTx/>
                <a:ea typeface="+mn-ea"/>
                <a:cs typeface="+mn-cs"/>
              </a:rPr>
              <a:t>Q2 2023</a:t>
            </a:r>
          </a:p>
        </p:txBody>
      </p:sp>
      <p:sp>
        <p:nvSpPr>
          <p:cNvPr id="30" name="Arrow: Chevron 29">
            <a:extLst>
              <a:ext uri="{FF2B5EF4-FFF2-40B4-BE49-F238E27FC236}">
                <a16:creationId xmlns:a16="http://schemas.microsoft.com/office/drawing/2014/main" id="{58224400-680E-AA5E-4802-CAE45D742C2A}"/>
              </a:ext>
            </a:extLst>
          </p:cNvPr>
          <p:cNvSpPr/>
          <p:nvPr/>
        </p:nvSpPr>
        <p:spPr>
          <a:xfrm>
            <a:off x="2259829" y="980477"/>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defRPr/>
            </a:pPr>
            <a:r>
              <a:rPr kumimoji="0" lang="fr-FR" sz="1260" b="0" i="0" u="none" strike="noStrike" kern="1200" cap="none" spc="0" normalizeH="0" baseline="0" noProof="0" dirty="0">
                <a:ln>
                  <a:noFill/>
                </a:ln>
                <a:solidFill>
                  <a:srgbClr val="FFFFFF"/>
                </a:solidFill>
                <a:effectLst/>
                <a:uLnTx/>
                <a:uFillTx/>
                <a:ea typeface="+mn-ea"/>
                <a:cs typeface="+mn-cs"/>
              </a:rPr>
              <a:t>Q3 2023</a:t>
            </a:r>
          </a:p>
        </p:txBody>
      </p:sp>
      <p:sp>
        <p:nvSpPr>
          <p:cNvPr id="31" name="Arrow: Chevron 30">
            <a:extLst>
              <a:ext uri="{FF2B5EF4-FFF2-40B4-BE49-F238E27FC236}">
                <a16:creationId xmlns:a16="http://schemas.microsoft.com/office/drawing/2014/main" id="{2249ADC3-CC27-8EDF-1EE9-0257B1C9AE3B}"/>
              </a:ext>
            </a:extLst>
          </p:cNvPr>
          <p:cNvSpPr/>
          <p:nvPr/>
        </p:nvSpPr>
        <p:spPr>
          <a:xfrm>
            <a:off x="3071509" y="980477"/>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60" b="0" i="0" u="none" strike="noStrike" kern="1200" cap="none" spc="0" normalizeH="0" baseline="0" noProof="0" dirty="0">
                <a:ln>
                  <a:noFill/>
                </a:ln>
                <a:solidFill>
                  <a:srgbClr val="FFFFFF"/>
                </a:solidFill>
                <a:effectLst/>
                <a:uLnTx/>
                <a:uFillTx/>
                <a:ea typeface="+mn-ea"/>
                <a:cs typeface="+mn-cs"/>
              </a:rPr>
              <a:t>Q4 2023</a:t>
            </a:r>
          </a:p>
        </p:txBody>
      </p:sp>
      <p:sp>
        <p:nvSpPr>
          <p:cNvPr id="32" name="Arrow: Chevron 31">
            <a:extLst>
              <a:ext uri="{FF2B5EF4-FFF2-40B4-BE49-F238E27FC236}">
                <a16:creationId xmlns:a16="http://schemas.microsoft.com/office/drawing/2014/main" id="{14CAEDB1-E337-D8B3-EB93-8934E4F79B6C}"/>
              </a:ext>
            </a:extLst>
          </p:cNvPr>
          <p:cNvSpPr/>
          <p:nvPr/>
        </p:nvSpPr>
        <p:spPr>
          <a:xfrm>
            <a:off x="3883190" y="980477"/>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H1 2024</a:t>
            </a:r>
          </a:p>
        </p:txBody>
      </p:sp>
      <p:sp>
        <p:nvSpPr>
          <p:cNvPr id="34" name="Arrow: Chevron 33">
            <a:extLst>
              <a:ext uri="{FF2B5EF4-FFF2-40B4-BE49-F238E27FC236}">
                <a16:creationId xmlns:a16="http://schemas.microsoft.com/office/drawing/2014/main" id="{DAD64727-7929-2301-8383-7C40031E4847}"/>
              </a:ext>
            </a:extLst>
          </p:cNvPr>
          <p:cNvSpPr/>
          <p:nvPr/>
        </p:nvSpPr>
        <p:spPr>
          <a:xfrm>
            <a:off x="4694871" y="980477"/>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H2 2024</a:t>
            </a:r>
          </a:p>
        </p:txBody>
      </p:sp>
      <p:sp>
        <p:nvSpPr>
          <p:cNvPr id="80" name="Arrow: Chevron 79">
            <a:extLst>
              <a:ext uri="{FF2B5EF4-FFF2-40B4-BE49-F238E27FC236}">
                <a16:creationId xmlns:a16="http://schemas.microsoft.com/office/drawing/2014/main" id="{B5DBB5C8-43DF-882C-8963-D1D6766082DA}"/>
              </a:ext>
            </a:extLst>
          </p:cNvPr>
          <p:cNvSpPr/>
          <p:nvPr/>
        </p:nvSpPr>
        <p:spPr>
          <a:xfrm>
            <a:off x="5506552"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5</a:t>
            </a:r>
          </a:p>
        </p:txBody>
      </p:sp>
      <p:sp>
        <p:nvSpPr>
          <p:cNvPr id="81" name="Arrow: Chevron 80">
            <a:extLst>
              <a:ext uri="{FF2B5EF4-FFF2-40B4-BE49-F238E27FC236}">
                <a16:creationId xmlns:a16="http://schemas.microsoft.com/office/drawing/2014/main" id="{7EEE773F-BD05-52FA-4E5A-0A511C961F3F}"/>
              </a:ext>
            </a:extLst>
          </p:cNvPr>
          <p:cNvSpPr/>
          <p:nvPr/>
        </p:nvSpPr>
        <p:spPr>
          <a:xfrm>
            <a:off x="6318233"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6</a:t>
            </a:r>
          </a:p>
        </p:txBody>
      </p:sp>
      <p:sp>
        <p:nvSpPr>
          <p:cNvPr id="82" name="Arrow: Chevron 81">
            <a:extLst>
              <a:ext uri="{FF2B5EF4-FFF2-40B4-BE49-F238E27FC236}">
                <a16:creationId xmlns:a16="http://schemas.microsoft.com/office/drawing/2014/main" id="{0EF17916-C367-80A4-88A1-8A0C8600CC3E}"/>
              </a:ext>
            </a:extLst>
          </p:cNvPr>
          <p:cNvSpPr/>
          <p:nvPr/>
        </p:nvSpPr>
        <p:spPr>
          <a:xfrm>
            <a:off x="7129914"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7</a:t>
            </a:r>
          </a:p>
        </p:txBody>
      </p:sp>
      <p:sp>
        <p:nvSpPr>
          <p:cNvPr id="83" name="Arrow: Chevron 82">
            <a:extLst>
              <a:ext uri="{FF2B5EF4-FFF2-40B4-BE49-F238E27FC236}">
                <a16:creationId xmlns:a16="http://schemas.microsoft.com/office/drawing/2014/main" id="{BF663153-0E89-C86E-1487-6FC1CDA9FC30}"/>
              </a:ext>
            </a:extLst>
          </p:cNvPr>
          <p:cNvSpPr/>
          <p:nvPr/>
        </p:nvSpPr>
        <p:spPr>
          <a:xfrm>
            <a:off x="7941594"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8</a:t>
            </a:r>
          </a:p>
        </p:txBody>
      </p:sp>
      <p:sp>
        <p:nvSpPr>
          <p:cNvPr id="84" name="Arrow: Chevron 83">
            <a:extLst>
              <a:ext uri="{FF2B5EF4-FFF2-40B4-BE49-F238E27FC236}">
                <a16:creationId xmlns:a16="http://schemas.microsoft.com/office/drawing/2014/main" id="{6F6EF02D-FAAC-5B06-D2CD-D6CB0217B324}"/>
              </a:ext>
            </a:extLst>
          </p:cNvPr>
          <p:cNvSpPr/>
          <p:nvPr/>
        </p:nvSpPr>
        <p:spPr>
          <a:xfrm>
            <a:off x="8753275"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9</a:t>
            </a:r>
          </a:p>
        </p:txBody>
      </p:sp>
      <p:sp>
        <p:nvSpPr>
          <p:cNvPr id="85" name="Arrow: Chevron 84">
            <a:extLst>
              <a:ext uri="{FF2B5EF4-FFF2-40B4-BE49-F238E27FC236}">
                <a16:creationId xmlns:a16="http://schemas.microsoft.com/office/drawing/2014/main" id="{C01F621C-726E-427B-4176-1F404ABC0BC5}"/>
              </a:ext>
            </a:extLst>
          </p:cNvPr>
          <p:cNvSpPr/>
          <p:nvPr/>
        </p:nvSpPr>
        <p:spPr>
          <a:xfrm>
            <a:off x="9564956"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30</a:t>
            </a:r>
          </a:p>
        </p:txBody>
      </p:sp>
      <p:sp>
        <p:nvSpPr>
          <p:cNvPr id="53" name="Arrow: Chevron 52">
            <a:extLst>
              <a:ext uri="{FF2B5EF4-FFF2-40B4-BE49-F238E27FC236}">
                <a16:creationId xmlns:a16="http://schemas.microsoft.com/office/drawing/2014/main" id="{903931A9-DC3A-16FE-0F81-F57579E20FD2}"/>
              </a:ext>
            </a:extLst>
          </p:cNvPr>
          <p:cNvSpPr/>
          <p:nvPr/>
        </p:nvSpPr>
        <p:spPr>
          <a:xfrm>
            <a:off x="10322684" y="980477"/>
            <a:ext cx="99299" cy="299159"/>
          </a:xfrm>
          <a:prstGeom prst="chevron">
            <a:avLst>
              <a:gd name="adj" fmla="val 34514"/>
            </a:avLst>
          </a:prstGeom>
          <a:solidFill>
            <a:srgbClr val="FFFFFF"/>
          </a:solidFill>
          <a:ln w="8572"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endParaRPr kumimoji="0" lang="fr-FR" sz="1260" b="0" i="0" u="none" strike="noStrike" kern="1200" cap="none" spc="0" normalizeH="0" baseline="0" noProof="0" dirty="0">
              <a:ln>
                <a:noFill/>
              </a:ln>
              <a:solidFill>
                <a:srgbClr val="0070C0"/>
              </a:solidFill>
              <a:effectLst/>
              <a:uLnTx/>
              <a:uFillTx/>
              <a:ea typeface="+mn-ea"/>
              <a:cs typeface="+mn-cs"/>
            </a:endParaRPr>
          </a:p>
        </p:txBody>
      </p:sp>
      <p:sp>
        <p:nvSpPr>
          <p:cNvPr id="40" name="Arrow: Chevron 39">
            <a:extLst>
              <a:ext uri="{FF2B5EF4-FFF2-40B4-BE49-F238E27FC236}">
                <a16:creationId xmlns:a16="http://schemas.microsoft.com/office/drawing/2014/main" id="{98859B9F-FB46-5306-7C97-857849C5976D}"/>
              </a:ext>
            </a:extLst>
          </p:cNvPr>
          <p:cNvSpPr/>
          <p:nvPr/>
        </p:nvSpPr>
        <p:spPr>
          <a:xfrm>
            <a:off x="685787" y="980477"/>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100" b="1" dirty="0">
                <a:solidFill>
                  <a:srgbClr val="002060"/>
                </a:solidFill>
              </a:rPr>
              <a:t>PPH</a:t>
            </a:r>
          </a:p>
          <a:p>
            <a:pPr algn="ctr"/>
            <a:r>
              <a:rPr lang="fr-FR" sz="1100" b="1" dirty="0">
                <a:solidFill>
                  <a:srgbClr val="002060"/>
                </a:solidFill>
              </a:rPr>
              <a:t>Summit</a:t>
            </a:r>
          </a:p>
        </p:txBody>
      </p:sp>
      <p:cxnSp>
        <p:nvCxnSpPr>
          <p:cNvPr id="102" name="Straight Connector 101">
            <a:extLst>
              <a:ext uri="{FF2B5EF4-FFF2-40B4-BE49-F238E27FC236}">
                <a16:creationId xmlns:a16="http://schemas.microsoft.com/office/drawing/2014/main" id="{C7CB1139-2B0A-F637-FADA-08F2A7625CC4}"/>
              </a:ext>
            </a:extLst>
          </p:cNvPr>
          <p:cNvCxnSpPr/>
          <p:nvPr/>
        </p:nvCxnSpPr>
        <p:spPr>
          <a:xfrm>
            <a:off x="457080" y="6226424"/>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3" name="Isosceles Triangle 75">
            <a:extLst>
              <a:ext uri="{FF2B5EF4-FFF2-40B4-BE49-F238E27FC236}">
                <a16:creationId xmlns:a16="http://schemas.microsoft.com/office/drawing/2014/main" id="{ED841635-CF52-8FF3-7C36-CBC143F8BFB0}"/>
              </a:ext>
            </a:extLst>
          </p:cNvPr>
          <p:cNvSpPr>
            <a:spLocks/>
          </p:cNvSpPr>
          <p:nvPr/>
        </p:nvSpPr>
        <p:spPr>
          <a:xfrm flipV="1">
            <a:off x="4029477" y="2603259"/>
            <a:ext cx="182257" cy="140352"/>
          </a:xfrm>
          <a:prstGeom prst="triangle">
            <a:avLst/>
          </a:prstGeom>
          <a:solidFill>
            <a:srgbClr val="E71C57"/>
          </a:solidFill>
          <a:ln w="9525" cap="rnd" cmpd="sng" algn="ctr">
            <a:solidFill>
              <a:srgbClr val="E71C5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 name="ee4pContent1">
            <a:extLst>
              <a:ext uri="{FF2B5EF4-FFF2-40B4-BE49-F238E27FC236}">
                <a16:creationId xmlns:a16="http://schemas.microsoft.com/office/drawing/2014/main" id="{AF2F53D4-6E25-E43E-8808-CB1770FEC12B}"/>
              </a:ext>
            </a:extLst>
          </p:cNvPr>
          <p:cNvSpPr txBox="1"/>
          <p:nvPr/>
        </p:nvSpPr>
        <p:spPr>
          <a:xfrm>
            <a:off x="3308793" y="2761844"/>
            <a:ext cx="1623626"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kern="1200" dirty="0">
                <a:solidFill>
                  <a:srgbClr val="262626"/>
                </a:solidFill>
                <a:effectLst/>
              </a:rPr>
              <a:t>Publication of </a:t>
            </a:r>
            <a:r>
              <a:rPr lang="en-US" sz="1100" b="1" kern="1200" dirty="0">
                <a:solidFill>
                  <a:srgbClr val="002060"/>
                </a:solidFill>
                <a:effectLst/>
              </a:rPr>
              <a:t>WHO recommendations</a:t>
            </a:r>
            <a:r>
              <a:rPr lang="en-US" sz="1100" kern="1200" dirty="0">
                <a:solidFill>
                  <a:srgbClr val="262626"/>
                </a:solidFill>
                <a:effectLst/>
              </a:rPr>
              <a:t> actioning new, impactful evidence</a:t>
            </a:r>
            <a:endParaRPr lang="en-US" sz="1100" dirty="0">
              <a:effectLst/>
              <a:ea typeface="Calibri" panose="020F0502020204030204" pitchFamily="34" charset="0"/>
              <a:cs typeface="Calibri" panose="020F0502020204030204" pitchFamily="34" charset="0"/>
            </a:endParaRPr>
          </a:p>
        </p:txBody>
      </p:sp>
      <p:sp>
        <p:nvSpPr>
          <p:cNvPr id="27" name="Isosceles Triangle 26">
            <a:extLst>
              <a:ext uri="{FF2B5EF4-FFF2-40B4-BE49-F238E27FC236}">
                <a16:creationId xmlns:a16="http://schemas.microsoft.com/office/drawing/2014/main" id="{96233BDF-2CCD-8DAE-55C0-B53658FB2E51}"/>
              </a:ext>
            </a:extLst>
          </p:cNvPr>
          <p:cNvSpPr>
            <a:spLocks/>
          </p:cNvSpPr>
          <p:nvPr/>
        </p:nvSpPr>
        <p:spPr>
          <a:xfrm flipV="1">
            <a:off x="6281698" y="5696424"/>
            <a:ext cx="182257" cy="151981"/>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38" name="ee4pContent1">
            <a:extLst>
              <a:ext uri="{FF2B5EF4-FFF2-40B4-BE49-F238E27FC236}">
                <a16:creationId xmlns:a16="http://schemas.microsoft.com/office/drawing/2014/main" id="{A1CC06EA-944D-8D82-FF31-615AEBBDF2ED}"/>
              </a:ext>
            </a:extLst>
          </p:cNvPr>
          <p:cNvSpPr txBox="1"/>
          <p:nvPr/>
        </p:nvSpPr>
        <p:spPr>
          <a:xfrm>
            <a:off x="6299763" y="5842848"/>
            <a:ext cx="1362770" cy="338554"/>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spAutoFit/>
          </a:bodyPr>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marR="0" lvl="0"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lang="en-US" sz="1100" b="1" dirty="0">
                <a:solidFill>
                  <a:srgbClr val="002060"/>
                </a:solidFill>
              </a:rPr>
              <a:t>Regional and local </a:t>
            </a:r>
            <a:r>
              <a:rPr lang="en-US" sz="1100" dirty="0"/>
              <a:t>advocacy framework</a:t>
            </a:r>
          </a:p>
        </p:txBody>
      </p:sp>
      <p:cxnSp>
        <p:nvCxnSpPr>
          <p:cNvPr id="17" name="Connector: Curved 16">
            <a:extLst>
              <a:ext uri="{FF2B5EF4-FFF2-40B4-BE49-F238E27FC236}">
                <a16:creationId xmlns:a16="http://schemas.microsoft.com/office/drawing/2014/main" id="{914D73DF-9F07-CE49-97A3-76BAB66984EF}"/>
              </a:ext>
            </a:extLst>
          </p:cNvPr>
          <p:cNvCxnSpPr>
            <a:cxnSpLocks/>
          </p:cNvCxnSpPr>
          <p:nvPr/>
        </p:nvCxnSpPr>
        <p:spPr>
          <a:xfrm rot="16200000" flipH="1">
            <a:off x="7336058" y="1847434"/>
            <a:ext cx="1031042" cy="604461"/>
          </a:xfrm>
          <a:prstGeom prst="curvedConnector4">
            <a:avLst>
              <a:gd name="adj1" fmla="val -9709"/>
              <a:gd name="adj2" fmla="val 227751"/>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0EA3003D-523F-401E-8C20-A7691F51EAC6}"/>
              </a:ext>
            </a:extLst>
          </p:cNvPr>
          <p:cNvGrpSpPr/>
          <p:nvPr/>
        </p:nvGrpSpPr>
        <p:grpSpPr>
          <a:xfrm>
            <a:off x="457078" y="6497026"/>
            <a:ext cx="2775803" cy="169277"/>
            <a:chOff x="457277" y="5846680"/>
            <a:chExt cx="2775803" cy="169277"/>
          </a:xfrm>
        </p:grpSpPr>
        <p:sp>
          <p:nvSpPr>
            <p:cNvPr id="94" name="Isosceles Triangle 93">
              <a:extLst>
                <a:ext uri="{FF2B5EF4-FFF2-40B4-BE49-F238E27FC236}">
                  <a16:creationId xmlns:a16="http://schemas.microsoft.com/office/drawing/2014/main" id="{EA5F4053-2B51-42C8-B9F7-D8280841DBE6}"/>
                </a:ext>
              </a:extLst>
            </p:cNvPr>
            <p:cNvSpPr>
              <a:spLocks/>
            </p:cNvSpPr>
            <p:nvPr/>
          </p:nvSpPr>
          <p:spPr>
            <a:xfrm flipV="1">
              <a:off x="457277" y="5853892"/>
              <a:ext cx="202490" cy="154853"/>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p>
          </p:txBody>
        </p:sp>
        <p:sp>
          <p:nvSpPr>
            <p:cNvPr id="95" name="ee4pContent1">
              <a:extLst>
                <a:ext uri="{FF2B5EF4-FFF2-40B4-BE49-F238E27FC236}">
                  <a16:creationId xmlns:a16="http://schemas.microsoft.com/office/drawing/2014/main" id="{2B1BBCE6-993E-4A2B-A744-8E7371BDDA23}"/>
                </a:ext>
              </a:extLst>
            </p:cNvPr>
            <p:cNvSpPr txBox="1"/>
            <p:nvPr/>
          </p:nvSpPr>
          <p:spPr>
            <a:xfrm>
              <a:off x="713107" y="5846680"/>
              <a:ext cx="2519973" cy="1692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100" kern="1200" dirty="0">
                  <a:solidFill>
                    <a:srgbClr val="262626"/>
                  </a:solidFill>
                  <a:effectLst/>
                  <a:ea typeface="Calibri" panose="020F0502020204030204" pitchFamily="34" charset="0"/>
                  <a:cs typeface="Mangal" panose="02040503050203030202" pitchFamily="18" charset="0"/>
                </a:rPr>
                <a:t>Milestones non contingent on new funding </a:t>
              </a:r>
              <a:endParaRPr lang="en-US" sz="1100" dirty="0">
                <a:effectLst/>
                <a:ea typeface="Calibri" panose="020F0502020204030204" pitchFamily="34" charset="0"/>
                <a:cs typeface="Calibri" panose="020F0502020204030204" pitchFamily="34" charset="0"/>
              </a:endParaRPr>
            </a:p>
          </p:txBody>
        </p:sp>
      </p:grpSp>
      <p:grpSp>
        <p:nvGrpSpPr>
          <p:cNvPr id="76" name="Group 75">
            <a:extLst>
              <a:ext uri="{FF2B5EF4-FFF2-40B4-BE49-F238E27FC236}">
                <a16:creationId xmlns:a16="http://schemas.microsoft.com/office/drawing/2014/main" id="{24628872-717F-4F87-8072-840180CFFB57}"/>
              </a:ext>
            </a:extLst>
          </p:cNvPr>
          <p:cNvGrpSpPr/>
          <p:nvPr/>
        </p:nvGrpSpPr>
        <p:grpSpPr>
          <a:xfrm>
            <a:off x="3493262" y="6497026"/>
            <a:ext cx="2170256" cy="169277"/>
            <a:chOff x="913351" y="6281031"/>
            <a:chExt cx="2170256" cy="169277"/>
          </a:xfrm>
        </p:grpSpPr>
        <p:sp>
          <p:nvSpPr>
            <p:cNvPr id="92" name="Isosceles Triangle 91">
              <a:extLst>
                <a:ext uri="{FF2B5EF4-FFF2-40B4-BE49-F238E27FC236}">
                  <a16:creationId xmlns:a16="http://schemas.microsoft.com/office/drawing/2014/main" id="{D86C5BA4-1DB3-4A23-9B6D-22FEE03E2D58}"/>
                </a:ext>
              </a:extLst>
            </p:cNvPr>
            <p:cNvSpPr>
              <a:spLocks/>
            </p:cNvSpPr>
            <p:nvPr/>
          </p:nvSpPr>
          <p:spPr>
            <a:xfrm flipV="1">
              <a:off x="913351" y="6288243"/>
              <a:ext cx="202490" cy="154853"/>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p>
          </p:txBody>
        </p:sp>
        <p:sp>
          <p:nvSpPr>
            <p:cNvPr id="93" name="ee4pContent1">
              <a:extLst>
                <a:ext uri="{FF2B5EF4-FFF2-40B4-BE49-F238E27FC236}">
                  <a16:creationId xmlns:a16="http://schemas.microsoft.com/office/drawing/2014/main" id="{0D20737E-1FA9-4E3E-94C9-C86DD2FAF533}"/>
                </a:ext>
              </a:extLst>
            </p:cNvPr>
            <p:cNvSpPr txBox="1"/>
            <p:nvPr/>
          </p:nvSpPr>
          <p:spPr>
            <a:xfrm>
              <a:off x="1169181" y="6281031"/>
              <a:ext cx="1914426" cy="1692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kern="1200" dirty="0">
                  <a:solidFill>
                    <a:srgbClr val="262626"/>
                  </a:solidFill>
                  <a:effectLst/>
                  <a:ea typeface="Calibri" panose="020F0502020204030204" pitchFamily="34" charset="0"/>
                  <a:cs typeface="Mangal" panose="02040503050203030202" pitchFamily="18" charset="0"/>
                </a:rPr>
                <a:t>Milestones contingent on funding</a:t>
              </a:r>
              <a:endParaRPr lang="en-US" sz="1100" dirty="0">
                <a:effectLst/>
                <a:ea typeface="Calibri" panose="020F0502020204030204" pitchFamily="34" charset="0"/>
                <a:cs typeface="Calibri" panose="020F0502020204030204" pitchFamily="34" charset="0"/>
              </a:endParaRPr>
            </a:p>
          </p:txBody>
        </p:sp>
      </p:grpSp>
      <p:grpSp>
        <p:nvGrpSpPr>
          <p:cNvPr id="77" name="Group 76">
            <a:extLst>
              <a:ext uri="{FF2B5EF4-FFF2-40B4-BE49-F238E27FC236}">
                <a16:creationId xmlns:a16="http://schemas.microsoft.com/office/drawing/2014/main" id="{0A7176CC-9B42-4594-97B3-5C82916E126B}"/>
              </a:ext>
            </a:extLst>
          </p:cNvPr>
          <p:cNvGrpSpPr/>
          <p:nvPr/>
        </p:nvGrpSpPr>
        <p:grpSpPr>
          <a:xfrm>
            <a:off x="5923899" y="6491812"/>
            <a:ext cx="1325870" cy="179705"/>
            <a:chOff x="4080944" y="6403416"/>
            <a:chExt cx="1325870" cy="179705"/>
          </a:xfrm>
        </p:grpSpPr>
        <p:sp>
          <p:nvSpPr>
            <p:cNvPr id="90" name="ee4pContent1">
              <a:extLst>
                <a:ext uri="{FF2B5EF4-FFF2-40B4-BE49-F238E27FC236}">
                  <a16:creationId xmlns:a16="http://schemas.microsoft.com/office/drawing/2014/main" id="{C5DFBE9D-68C2-4B7A-9B54-92ED2DDC032C}"/>
                </a:ext>
              </a:extLst>
            </p:cNvPr>
            <p:cNvSpPr txBox="1"/>
            <p:nvPr/>
          </p:nvSpPr>
          <p:spPr>
            <a:xfrm>
              <a:off x="4225718" y="6403416"/>
              <a:ext cx="1181096" cy="17970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kern="1200" dirty="0">
                  <a:solidFill>
                    <a:srgbClr val="262626"/>
                  </a:solidFill>
                  <a:effectLst/>
                  <a:ea typeface="Calibri" panose="020F0502020204030204" pitchFamily="34" charset="0"/>
                  <a:cs typeface="Mangal" panose="02040503050203030202" pitchFamily="18" charset="0"/>
                </a:rPr>
                <a:t>Interdependencies</a:t>
              </a:r>
              <a:endParaRPr lang="en-US" sz="1100" dirty="0">
                <a:effectLst/>
                <a:ea typeface="Calibri" panose="020F0502020204030204" pitchFamily="34" charset="0"/>
                <a:cs typeface="Calibri" panose="020F0502020204030204" pitchFamily="34" charset="0"/>
              </a:endParaRPr>
            </a:p>
          </p:txBody>
        </p:sp>
        <p:cxnSp>
          <p:nvCxnSpPr>
            <p:cNvPr id="91" name="Connector: Curved 90">
              <a:extLst>
                <a:ext uri="{FF2B5EF4-FFF2-40B4-BE49-F238E27FC236}">
                  <a16:creationId xmlns:a16="http://schemas.microsoft.com/office/drawing/2014/main" id="{33AA0476-5935-4C62-AD99-07DF361F3E37}"/>
                </a:ext>
              </a:extLst>
            </p:cNvPr>
            <p:cNvCxnSpPr>
              <a:cxnSpLocks/>
            </p:cNvCxnSpPr>
            <p:nvPr/>
          </p:nvCxnSpPr>
          <p:spPr>
            <a:xfrm rot="16200000" flipH="1">
              <a:off x="4033253" y="6470412"/>
              <a:ext cx="141097" cy="45715"/>
            </a:xfrm>
            <a:prstGeom prst="curvedConnector4">
              <a:avLst>
                <a:gd name="adj1" fmla="val -18601"/>
                <a:gd name="adj2" fmla="val 176689"/>
              </a:avLst>
            </a:prstGeom>
            <a:noFill/>
            <a:ln w="9525" cap="rnd" cmpd="sng" algn="ctr">
              <a:solidFill>
                <a:srgbClr val="006037"/>
              </a:solidFill>
              <a:prstDash val="sysDash"/>
              <a:round/>
              <a:headEnd type="none" w="med" len="med"/>
              <a:tailEnd type="triangle" w="med" len="med"/>
            </a:ln>
            <a:effectLst/>
          </p:spPr>
        </p:cxnSp>
      </p:grpSp>
      <p:cxnSp>
        <p:nvCxnSpPr>
          <p:cNvPr id="13" name="Connector: Curved 12">
            <a:extLst>
              <a:ext uri="{FF2B5EF4-FFF2-40B4-BE49-F238E27FC236}">
                <a16:creationId xmlns:a16="http://schemas.microsoft.com/office/drawing/2014/main" id="{BED3098F-6C7C-F917-C2F0-28206F0E3ABC}"/>
              </a:ext>
            </a:extLst>
          </p:cNvPr>
          <p:cNvCxnSpPr>
            <a:cxnSpLocks/>
          </p:cNvCxnSpPr>
          <p:nvPr/>
        </p:nvCxnSpPr>
        <p:spPr>
          <a:xfrm rot="16200000" flipH="1">
            <a:off x="5383973" y="2802860"/>
            <a:ext cx="1031042" cy="604461"/>
          </a:xfrm>
          <a:prstGeom prst="curvedConnector4">
            <a:avLst>
              <a:gd name="adj1" fmla="val -9709"/>
              <a:gd name="adj2" fmla="val 227751"/>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Text Box 1593">
            <a:extLst>
              <a:ext uri="{FF2B5EF4-FFF2-40B4-BE49-F238E27FC236}">
                <a16:creationId xmlns:a16="http://schemas.microsoft.com/office/drawing/2014/main" id="{95B9BFA2-6D5A-DC5A-7CA4-BC6E100F9C56}"/>
              </a:ext>
            </a:extLst>
          </p:cNvPr>
          <p:cNvSpPr txBox="1"/>
          <p:nvPr/>
        </p:nvSpPr>
        <p:spPr>
          <a:xfrm>
            <a:off x="4178546" y="5410108"/>
            <a:ext cx="6000968" cy="15234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wrap="square" lIns="0" tIns="0" rIns="0" bIns="0" anchor="ctr">
            <a:spAutoFit/>
          </a:bodyPr>
          <a:lstStyle/>
          <a:p>
            <a:pPr>
              <a:lnSpc>
                <a:spcPct val="90000"/>
              </a:lnSpc>
            </a:pPr>
            <a:r>
              <a:rPr lang="en-US" sz="1100" b="1" dirty="0">
                <a:solidFill>
                  <a:srgbClr val="002060"/>
                </a:solidFill>
              </a:rPr>
              <a:t>Advocacy efforts</a:t>
            </a:r>
            <a:r>
              <a:rPr lang="en-US" sz="1100" dirty="0">
                <a:solidFill>
                  <a:srgbClr val="262626"/>
                </a:solidFill>
              </a:rPr>
              <a:t> to raise awareness and advocate for women to be at the centre of the political agenda</a:t>
            </a:r>
            <a:endParaRPr lang="en-US" sz="1100" dirty="0">
              <a:effectLst/>
              <a:ea typeface="Calibri" panose="020F0502020204030204" pitchFamily="34" charset="0"/>
              <a:cs typeface="Calibri" panose="020F0502020204030204" pitchFamily="34" charset="0"/>
            </a:endParaRPr>
          </a:p>
        </p:txBody>
      </p:sp>
      <p:cxnSp>
        <p:nvCxnSpPr>
          <p:cNvPr id="49" name="Straight Connector 48">
            <a:extLst>
              <a:ext uri="{FF2B5EF4-FFF2-40B4-BE49-F238E27FC236}">
                <a16:creationId xmlns:a16="http://schemas.microsoft.com/office/drawing/2014/main" id="{60A0AF74-3F41-D2C5-09A3-DC5E3B1B0F7C}"/>
              </a:ext>
            </a:extLst>
          </p:cNvPr>
          <p:cNvCxnSpPr>
            <a:cxnSpLocks/>
          </p:cNvCxnSpPr>
          <p:nvPr/>
        </p:nvCxnSpPr>
        <p:spPr>
          <a:xfrm flipH="1" flipV="1">
            <a:off x="3844477" y="5324835"/>
            <a:ext cx="6405086" cy="21218"/>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60" name="Isosceles Triangle 59">
            <a:extLst>
              <a:ext uri="{FF2B5EF4-FFF2-40B4-BE49-F238E27FC236}">
                <a16:creationId xmlns:a16="http://schemas.microsoft.com/office/drawing/2014/main" id="{E2F7336C-C81B-C56D-2800-441E856DC69E}"/>
              </a:ext>
            </a:extLst>
          </p:cNvPr>
          <p:cNvSpPr>
            <a:spLocks/>
          </p:cNvSpPr>
          <p:nvPr/>
        </p:nvSpPr>
        <p:spPr>
          <a:xfrm flipV="1">
            <a:off x="6582985" y="4244862"/>
            <a:ext cx="182257" cy="140352"/>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1" name="ee4pContent1">
            <a:extLst>
              <a:ext uri="{FF2B5EF4-FFF2-40B4-BE49-F238E27FC236}">
                <a16:creationId xmlns:a16="http://schemas.microsoft.com/office/drawing/2014/main" id="{B289D132-F934-A91C-A9FC-5BE55C65FD9D}"/>
              </a:ext>
            </a:extLst>
          </p:cNvPr>
          <p:cNvSpPr txBox="1"/>
          <p:nvPr/>
        </p:nvSpPr>
        <p:spPr>
          <a:xfrm>
            <a:off x="6014692" y="4398029"/>
            <a:ext cx="1329621"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buNone/>
            </a:pPr>
            <a:r>
              <a:rPr lang="en-US" sz="1100" dirty="0">
                <a:solidFill>
                  <a:srgbClr val="262626"/>
                </a:solidFill>
                <a:ea typeface="Calibri" panose="020F0502020204030204" pitchFamily="34" charset="0"/>
                <a:cs typeface="Mangal" panose="02040503050203030202" pitchFamily="18" charset="0"/>
              </a:rPr>
              <a:t>New </a:t>
            </a:r>
            <a:r>
              <a:rPr lang="en-US" sz="1100" b="1" dirty="0">
                <a:solidFill>
                  <a:srgbClr val="002060"/>
                </a:solidFill>
              </a:rPr>
              <a:t>procurement initiative</a:t>
            </a:r>
          </a:p>
        </p:txBody>
      </p:sp>
      <p:sp>
        <p:nvSpPr>
          <p:cNvPr id="62" name="Isosceles Triangle 133">
            <a:extLst>
              <a:ext uri="{FF2B5EF4-FFF2-40B4-BE49-F238E27FC236}">
                <a16:creationId xmlns:a16="http://schemas.microsoft.com/office/drawing/2014/main" id="{68408842-F5AC-9172-8775-A338EF3F3DBF}"/>
              </a:ext>
            </a:extLst>
          </p:cNvPr>
          <p:cNvSpPr>
            <a:spLocks/>
          </p:cNvSpPr>
          <p:nvPr/>
        </p:nvSpPr>
        <p:spPr>
          <a:xfrm flipV="1">
            <a:off x="5653258" y="4568999"/>
            <a:ext cx="182257" cy="140352"/>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3" name="ee4pContent1">
            <a:extLst>
              <a:ext uri="{FF2B5EF4-FFF2-40B4-BE49-F238E27FC236}">
                <a16:creationId xmlns:a16="http://schemas.microsoft.com/office/drawing/2014/main" id="{42B1C47C-9685-4A06-000D-E4999D5F0576}"/>
              </a:ext>
            </a:extLst>
          </p:cNvPr>
          <p:cNvSpPr txBox="1"/>
          <p:nvPr/>
        </p:nvSpPr>
        <p:spPr>
          <a:xfrm>
            <a:off x="5041616" y="4744155"/>
            <a:ext cx="1377912" cy="25369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kern="1200" dirty="0">
                <a:solidFill>
                  <a:srgbClr val="262626"/>
                </a:solidFill>
                <a:effectLst/>
                <a:ea typeface="Calibri" panose="020F0502020204030204" pitchFamily="34" charset="0"/>
                <a:cs typeface="Mangal" panose="02040503050203030202" pitchFamily="18" charset="0"/>
              </a:rPr>
              <a:t>Launch common</a:t>
            </a:r>
            <a:endParaRPr lang="en-US" sz="1100" dirty="0">
              <a:effectLst/>
              <a:ea typeface="Calibri" panose="020F0502020204030204" pitchFamily="34" charset="0"/>
              <a:cs typeface="Calibri" panose="020F0502020204030204" pitchFamily="34" charset="0"/>
            </a:endParaRPr>
          </a:p>
          <a:p>
            <a:pPr algn="ctr"/>
            <a:r>
              <a:rPr lang="en-US" sz="1100" b="1" kern="1200" dirty="0">
                <a:solidFill>
                  <a:srgbClr val="002060"/>
                </a:solidFill>
                <a:effectLst/>
              </a:rPr>
              <a:t>measurement platform</a:t>
            </a:r>
            <a:endParaRPr lang="en-US" sz="1100" dirty="0">
              <a:effectLst/>
              <a:ea typeface="Calibri" panose="020F0502020204030204" pitchFamily="34" charset="0"/>
              <a:cs typeface="Calibri" panose="020F0502020204030204" pitchFamily="34" charset="0"/>
            </a:endParaRPr>
          </a:p>
        </p:txBody>
      </p:sp>
      <p:sp>
        <p:nvSpPr>
          <p:cNvPr id="64" name="Isosceles Triangle 133">
            <a:extLst>
              <a:ext uri="{FF2B5EF4-FFF2-40B4-BE49-F238E27FC236}">
                <a16:creationId xmlns:a16="http://schemas.microsoft.com/office/drawing/2014/main" id="{4E1FB09F-CE00-F7DB-C647-0B07F7C20E4D}"/>
              </a:ext>
            </a:extLst>
          </p:cNvPr>
          <p:cNvSpPr>
            <a:spLocks/>
          </p:cNvSpPr>
          <p:nvPr/>
        </p:nvSpPr>
        <p:spPr>
          <a:xfrm flipV="1">
            <a:off x="3720540" y="4568996"/>
            <a:ext cx="182257" cy="140352"/>
          </a:xfrm>
          <a:prstGeom prst="triangle">
            <a:avLst/>
          </a:prstGeom>
          <a:solidFill>
            <a:srgbClr val="FF0000"/>
          </a:solidFill>
          <a:ln w="9525" cap="rnd" cmpd="sng" algn="ctr">
            <a:solidFill>
              <a:srgbClr val="FF0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6" name="ee4pContent1">
            <a:extLst>
              <a:ext uri="{FF2B5EF4-FFF2-40B4-BE49-F238E27FC236}">
                <a16:creationId xmlns:a16="http://schemas.microsoft.com/office/drawing/2014/main" id="{79368920-8BED-0443-386D-48F89D180150}"/>
              </a:ext>
            </a:extLst>
          </p:cNvPr>
          <p:cNvSpPr txBox="1"/>
          <p:nvPr/>
        </p:nvSpPr>
        <p:spPr>
          <a:xfrm>
            <a:off x="3282762" y="4764474"/>
            <a:ext cx="1057813"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buNone/>
              <a:defRPr/>
            </a:pPr>
            <a:r>
              <a:rPr lang="en-US" sz="1100" dirty="0">
                <a:solidFill>
                  <a:srgbClr val="262626"/>
                </a:solidFill>
                <a:cs typeface="Mangal" panose="02040503050203030202" pitchFamily="18" charset="0"/>
              </a:rPr>
              <a:t>Launch </a:t>
            </a:r>
            <a:r>
              <a:rPr lang="en-US" sz="1100" b="1" dirty="0">
                <a:solidFill>
                  <a:srgbClr val="2E3558"/>
                </a:solidFill>
                <a:cs typeface="Mangal" panose="02040503050203030202" pitchFamily="18" charset="0"/>
              </a:rPr>
              <a:t>PPH Framework</a:t>
            </a:r>
            <a:endParaRPr lang="en-US" sz="1100" b="1" dirty="0">
              <a:solidFill>
                <a:srgbClr val="2E3558"/>
              </a:solidFill>
            </a:endParaRPr>
          </a:p>
        </p:txBody>
      </p:sp>
      <p:cxnSp>
        <p:nvCxnSpPr>
          <p:cNvPr id="67" name="Connector: Curved 66">
            <a:extLst>
              <a:ext uri="{FF2B5EF4-FFF2-40B4-BE49-F238E27FC236}">
                <a16:creationId xmlns:a16="http://schemas.microsoft.com/office/drawing/2014/main" id="{04B27383-CDBC-BAC3-CB20-1F15CE876286}"/>
              </a:ext>
            </a:extLst>
          </p:cNvPr>
          <p:cNvCxnSpPr>
            <a:cxnSpLocks/>
          </p:cNvCxnSpPr>
          <p:nvPr/>
        </p:nvCxnSpPr>
        <p:spPr>
          <a:xfrm rot="16200000" flipH="1">
            <a:off x="3667800" y="4774497"/>
            <a:ext cx="837795" cy="330200"/>
          </a:xfrm>
          <a:prstGeom prst="curvedConnector3">
            <a:avLst>
              <a:gd name="adj1" fmla="val -4572"/>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C076D7B-C103-3DE9-361D-F7D4BD4B964F}"/>
              </a:ext>
            </a:extLst>
          </p:cNvPr>
          <p:cNvCxnSpPr>
            <a:cxnSpLocks/>
          </p:cNvCxnSpPr>
          <p:nvPr/>
        </p:nvCxnSpPr>
        <p:spPr>
          <a:xfrm flipH="1">
            <a:off x="5645974" y="2641145"/>
            <a:ext cx="4614560" cy="20106"/>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9" name="Rectangle 8">
            <a:extLst>
              <a:ext uri="{FF2B5EF4-FFF2-40B4-BE49-F238E27FC236}">
                <a16:creationId xmlns:a16="http://schemas.microsoft.com/office/drawing/2014/main" id="{EE156D58-CAE6-4D96-904F-549D228F6D60}"/>
              </a:ext>
            </a:extLst>
          </p:cNvPr>
          <p:cNvSpPr/>
          <p:nvPr/>
        </p:nvSpPr>
        <p:spPr>
          <a:xfrm>
            <a:off x="457080" y="1482251"/>
            <a:ext cx="925939" cy="935514"/>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Research</a:t>
            </a:r>
          </a:p>
        </p:txBody>
      </p:sp>
      <p:sp>
        <p:nvSpPr>
          <p:cNvPr id="10" name="Rectangle 9">
            <a:extLst>
              <a:ext uri="{FF2B5EF4-FFF2-40B4-BE49-F238E27FC236}">
                <a16:creationId xmlns:a16="http://schemas.microsoft.com/office/drawing/2014/main" id="{8D075D53-AA2B-937B-A1AA-C70A44FDADF7}"/>
              </a:ext>
            </a:extLst>
          </p:cNvPr>
          <p:cNvSpPr/>
          <p:nvPr/>
        </p:nvSpPr>
        <p:spPr>
          <a:xfrm>
            <a:off x="457080" y="2486369"/>
            <a:ext cx="925939" cy="935514"/>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Norms &amp;</a:t>
            </a:r>
          </a:p>
          <a:p>
            <a:pPr algn="ctr"/>
            <a:r>
              <a:rPr lang="en-US" sz="990" dirty="0">
                <a:solidFill>
                  <a:srgbClr val="262626"/>
                </a:solidFill>
              </a:rPr>
              <a:t>Standards</a:t>
            </a:r>
          </a:p>
        </p:txBody>
      </p:sp>
      <p:sp>
        <p:nvSpPr>
          <p:cNvPr id="14" name="Rectangle 13">
            <a:extLst>
              <a:ext uri="{FF2B5EF4-FFF2-40B4-BE49-F238E27FC236}">
                <a16:creationId xmlns:a16="http://schemas.microsoft.com/office/drawing/2014/main" id="{6CB4D598-DB97-B95A-5D56-7A0865A5CB24}"/>
              </a:ext>
            </a:extLst>
          </p:cNvPr>
          <p:cNvSpPr/>
          <p:nvPr/>
        </p:nvSpPr>
        <p:spPr>
          <a:xfrm>
            <a:off x="457080" y="3501268"/>
            <a:ext cx="925939" cy="1625768"/>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Implementation</a:t>
            </a:r>
          </a:p>
        </p:txBody>
      </p:sp>
      <p:sp>
        <p:nvSpPr>
          <p:cNvPr id="18" name="Rectangle 17">
            <a:extLst>
              <a:ext uri="{FF2B5EF4-FFF2-40B4-BE49-F238E27FC236}">
                <a16:creationId xmlns:a16="http://schemas.microsoft.com/office/drawing/2014/main" id="{818FDF44-F912-2FB5-E6A2-D92473A307E9}"/>
              </a:ext>
            </a:extLst>
          </p:cNvPr>
          <p:cNvSpPr/>
          <p:nvPr/>
        </p:nvSpPr>
        <p:spPr>
          <a:xfrm>
            <a:off x="457080" y="5232399"/>
            <a:ext cx="925939" cy="959717"/>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Advocacy</a:t>
            </a:r>
          </a:p>
        </p:txBody>
      </p:sp>
      <p:grpSp>
        <p:nvGrpSpPr>
          <p:cNvPr id="19" name="Group 18">
            <a:extLst>
              <a:ext uri="{FF2B5EF4-FFF2-40B4-BE49-F238E27FC236}">
                <a16:creationId xmlns:a16="http://schemas.microsoft.com/office/drawing/2014/main" id="{C3619184-7FB6-106F-6088-AE1B60EEB146}"/>
              </a:ext>
            </a:extLst>
          </p:cNvPr>
          <p:cNvGrpSpPr/>
          <p:nvPr/>
        </p:nvGrpSpPr>
        <p:grpSpPr>
          <a:xfrm>
            <a:off x="1430441" y="1477755"/>
            <a:ext cx="1213507" cy="4665628"/>
            <a:chOff x="1430441" y="1907719"/>
            <a:chExt cx="1213507" cy="3882847"/>
          </a:xfrm>
        </p:grpSpPr>
        <p:grpSp>
          <p:nvGrpSpPr>
            <p:cNvPr id="20" name="Group 19">
              <a:extLst>
                <a:ext uri="{FF2B5EF4-FFF2-40B4-BE49-F238E27FC236}">
                  <a16:creationId xmlns:a16="http://schemas.microsoft.com/office/drawing/2014/main" id="{DB9F5497-E44A-370D-E4A0-21985995F786}"/>
                </a:ext>
              </a:extLst>
            </p:cNvPr>
            <p:cNvGrpSpPr/>
            <p:nvPr/>
          </p:nvGrpSpPr>
          <p:grpSpPr>
            <a:xfrm>
              <a:off x="1757448" y="1907719"/>
              <a:ext cx="232206" cy="3882847"/>
              <a:chOff x="1757448" y="1907719"/>
              <a:chExt cx="232206" cy="3882847"/>
            </a:xfrm>
          </p:grpSpPr>
          <p:sp>
            <p:nvSpPr>
              <p:cNvPr id="24" name="Rectangle 23">
                <a:extLst>
                  <a:ext uri="{FF2B5EF4-FFF2-40B4-BE49-F238E27FC236}">
                    <a16:creationId xmlns:a16="http://schemas.microsoft.com/office/drawing/2014/main" id="{F92A4D39-0648-ABB1-C236-C2A96D6E6372}"/>
                  </a:ext>
                </a:extLst>
              </p:cNvPr>
              <p:cNvSpPr/>
              <p:nvPr/>
            </p:nvSpPr>
            <p:spPr>
              <a:xfrm>
                <a:off x="1757448" y="1907719"/>
                <a:ext cx="232206" cy="3882847"/>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25" name="Straight Connector 24">
                <a:extLst>
                  <a:ext uri="{FF2B5EF4-FFF2-40B4-BE49-F238E27FC236}">
                    <a16:creationId xmlns:a16="http://schemas.microsoft.com/office/drawing/2014/main" id="{751C25C3-4A6C-EB54-5831-8F04A66379F7}"/>
                  </a:ext>
                </a:extLst>
              </p:cNvPr>
              <p:cNvCxnSpPr>
                <a:cxnSpLocks/>
                <a:stCxn id="24" idx="2"/>
              </p:cNvCxnSpPr>
              <p:nvPr/>
            </p:nvCxnSpPr>
            <p:spPr>
              <a:xfrm flipH="1" flipV="1">
                <a:off x="1859662" y="1952250"/>
                <a:ext cx="13889" cy="3838316"/>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26" name="Isosceles Triangle 25">
                <a:extLst>
                  <a:ext uri="{FF2B5EF4-FFF2-40B4-BE49-F238E27FC236}">
                    <a16:creationId xmlns:a16="http://schemas.microsoft.com/office/drawing/2014/main" id="{E61A422D-4362-0C4B-6BDD-62B2E2897E07}"/>
                  </a:ext>
                </a:extLst>
              </p:cNvPr>
              <p:cNvSpPr>
                <a:spLocks/>
              </p:cNvSpPr>
              <p:nvPr/>
            </p:nvSpPr>
            <p:spPr>
              <a:xfrm flipV="1">
                <a:off x="1782422" y="3319937"/>
                <a:ext cx="182257" cy="140352"/>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381" tIns="64191" rIns="128381" bIns="641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ea typeface="+mn-ea"/>
                  <a:cs typeface="Calibri Light" panose="020F0302020204030204" pitchFamily="34" charset="0"/>
                  <a:sym typeface="Calibri Light" panose="020F0302020204030204" pitchFamily="34" charset="0"/>
                </a:endParaRPr>
              </a:p>
            </p:txBody>
          </p:sp>
        </p:grpSp>
        <p:sp>
          <p:nvSpPr>
            <p:cNvPr id="22" name="ee4pContent1">
              <a:extLst>
                <a:ext uri="{FF2B5EF4-FFF2-40B4-BE49-F238E27FC236}">
                  <a16:creationId xmlns:a16="http://schemas.microsoft.com/office/drawing/2014/main" id="{7D8A8022-1806-08DB-6C12-E2171897FCAB}"/>
                </a:ext>
              </a:extLst>
            </p:cNvPr>
            <p:cNvSpPr txBox="1"/>
            <p:nvPr/>
          </p:nvSpPr>
          <p:spPr>
            <a:xfrm>
              <a:off x="1430441" y="3473783"/>
              <a:ext cx="1213507" cy="1015663"/>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r>
                <a:rPr lang="en-US" sz="1100" b="1" kern="1200" dirty="0">
                  <a:solidFill>
                    <a:srgbClr val="002060"/>
                  </a:solidFill>
                  <a:effectLst/>
                </a:rPr>
                <a:t>IMNHC</a:t>
              </a:r>
              <a:r>
                <a:rPr lang="en-US" sz="1100" kern="1200" dirty="0">
                  <a:solidFill>
                    <a:srgbClr val="262626"/>
                  </a:solidFill>
                  <a:effectLst/>
                </a:rPr>
                <a:t> – </a:t>
              </a:r>
              <a:r>
                <a:rPr lang="en-US" sz="1100" b="1" dirty="0">
                  <a:solidFill>
                    <a:srgbClr val="002060"/>
                  </a:solidFill>
                </a:rPr>
                <a:t>launch of the RoadMap</a:t>
              </a:r>
              <a:r>
                <a:rPr lang="en-US" sz="1100" kern="1200" dirty="0">
                  <a:solidFill>
                    <a:srgbClr val="262626"/>
                  </a:solidFill>
                  <a:effectLst/>
                </a:rPr>
                <a:t>, including research, normative, implementation, and advocacy agendas</a:t>
              </a:r>
              <a:endParaRPr lang="en-US" sz="1100" dirty="0">
                <a:effectLst/>
                <a:ea typeface="Calibri" panose="020F0502020204030204" pitchFamily="34" charset="0"/>
                <a:cs typeface="Calibri" panose="020F0502020204030204" pitchFamily="34" charset="0"/>
              </a:endParaRPr>
            </a:p>
          </p:txBody>
        </p:sp>
      </p:grpSp>
      <p:sp>
        <p:nvSpPr>
          <p:cNvPr id="41" name="Rectangle 40">
            <a:extLst>
              <a:ext uri="{FF2B5EF4-FFF2-40B4-BE49-F238E27FC236}">
                <a16:creationId xmlns:a16="http://schemas.microsoft.com/office/drawing/2014/main" id="{9AAB0CCC-832A-3965-133C-889A0566044F}"/>
              </a:ext>
            </a:extLst>
          </p:cNvPr>
          <p:cNvSpPr/>
          <p:nvPr/>
        </p:nvSpPr>
        <p:spPr>
          <a:xfrm>
            <a:off x="10365666" y="3489866"/>
            <a:ext cx="1540584" cy="1581934"/>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dirty="0">
                <a:solidFill>
                  <a:srgbClr val="262626"/>
                </a:solidFill>
              </a:rPr>
              <a:t>Priority implementation</a:t>
            </a:r>
            <a:br>
              <a:rPr lang="en-US" sz="1000" dirty="0">
                <a:solidFill>
                  <a:srgbClr val="262626"/>
                </a:solidFill>
              </a:rPr>
            </a:br>
            <a:r>
              <a:rPr lang="en-US" sz="1000" b="1" dirty="0">
                <a:solidFill>
                  <a:srgbClr val="0070C0"/>
                </a:solidFill>
              </a:rPr>
              <a:t>bottlenecks</a:t>
            </a:r>
            <a:r>
              <a:rPr lang="en-US" sz="1000" dirty="0">
                <a:solidFill>
                  <a:srgbClr val="262626"/>
                </a:solidFill>
              </a:rPr>
              <a:t> </a:t>
            </a:r>
            <a:r>
              <a:rPr lang="en-US" sz="1000" b="1" dirty="0">
                <a:solidFill>
                  <a:srgbClr val="0070C0"/>
                </a:solidFill>
              </a:rPr>
              <a:t>and</a:t>
            </a:r>
            <a:r>
              <a:rPr lang="en-US" sz="1000" dirty="0">
                <a:solidFill>
                  <a:srgbClr val="262626"/>
                </a:solidFill>
              </a:rPr>
              <a:t> </a:t>
            </a:r>
            <a:r>
              <a:rPr lang="en-US" sz="1000" b="1" dirty="0">
                <a:solidFill>
                  <a:srgbClr val="0070C0"/>
                </a:solidFill>
              </a:rPr>
              <a:t>hurdles</a:t>
            </a:r>
            <a:r>
              <a:rPr lang="en-US" sz="1000" dirty="0">
                <a:solidFill>
                  <a:srgbClr val="262626"/>
                </a:solidFill>
              </a:rPr>
              <a:t>, incl. context-specific ones, have been </a:t>
            </a:r>
            <a:r>
              <a:rPr lang="en-US" sz="1000" b="1" dirty="0">
                <a:solidFill>
                  <a:srgbClr val="0070C0"/>
                </a:solidFill>
              </a:rPr>
              <a:t>removed</a:t>
            </a:r>
          </a:p>
        </p:txBody>
      </p:sp>
      <p:sp>
        <p:nvSpPr>
          <p:cNvPr id="42" name="ee4pContent1">
            <a:extLst>
              <a:ext uri="{FF2B5EF4-FFF2-40B4-BE49-F238E27FC236}">
                <a16:creationId xmlns:a16="http://schemas.microsoft.com/office/drawing/2014/main" id="{F92BA9A9-F43B-78C8-2CD9-E7060BCD394D}"/>
              </a:ext>
            </a:extLst>
          </p:cNvPr>
          <p:cNvSpPr txBox="1"/>
          <p:nvPr/>
        </p:nvSpPr>
        <p:spPr>
          <a:xfrm>
            <a:off x="3915441" y="3640964"/>
            <a:ext cx="5852942" cy="20103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dirty="0">
                <a:solidFill>
                  <a:srgbClr val="002060"/>
                </a:solidFill>
              </a:rPr>
              <a:t>PPH guideline </a:t>
            </a:r>
            <a:r>
              <a:rPr lang="en-US" sz="1100" b="1" dirty="0">
                <a:solidFill>
                  <a:srgbClr val="002060"/>
                </a:solidFill>
              </a:rPr>
              <a:t>adaptation and adoption</a:t>
            </a:r>
            <a:r>
              <a:rPr lang="en-US" sz="1100" kern="1200" dirty="0">
                <a:solidFill>
                  <a:srgbClr val="262626"/>
                </a:solidFill>
                <a:effectLst/>
              </a:rPr>
              <a:t> to support dissemination and implementation in-country</a:t>
            </a:r>
            <a:endParaRPr lang="en-US" sz="1100" dirty="0">
              <a:solidFill>
                <a:srgbClr val="262626"/>
              </a:solidFill>
            </a:endParaRPr>
          </a:p>
        </p:txBody>
      </p:sp>
      <p:sp>
        <p:nvSpPr>
          <p:cNvPr id="43" name="Text Box 1595">
            <a:extLst>
              <a:ext uri="{FF2B5EF4-FFF2-40B4-BE49-F238E27FC236}">
                <a16:creationId xmlns:a16="http://schemas.microsoft.com/office/drawing/2014/main" id="{C8A04019-5DAD-05DD-39BE-52995EF754EA}"/>
              </a:ext>
            </a:extLst>
          </p:cNvPr>
          <p:cNvSpPr txBox="1"/>
          <p:nvPr/>
        </p:nvSpPr>
        <p:spPr>
          <a:xfrm>
            <a:off x="2862286" y="4036119"/>
            <a:ext cx="7387277" cy="15234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wrap="square" lIns="0" tIns="0" rIns="0" bIns="0" anchor="ctr">
            <a:spAutoFit/>
          </a:bodyPr>
          <a:lstStyle/>
          <a:p>
            <a:pPr algn="ctr">
              <a:lnSpc>
                <a:spcPct val="90000"/>
              </a:lnSpc>
            </a:pPr>
            <a:r>
              <a:rPr lang="en-US" sz="1100" dirty="0">
                <a:solidFill>
                  <a:srgbClr val="262626"/>
                </a:solidFill>
              </a:rPr>
              <a:t>Support authorization of full scope of practice for </a:t>
            </a:r>
            <a:r>
              <a:rPr lang="en-US" sz="1100" b="1" dirty="0">
                <a:solidFill>
                  <a:srgbClr val="002060"/>
                </a:solidFill>
              </a:rPr>
              <a:t>midwifery and other cadres; capacity building, professional development</a:t>
            </a:r>
          </a:p>
        </p:txBody>
      </p:sp>
      <p:cxnSp>
        <p:nvCxnSpPr>
          <p:cNvPr id="45" name="Straight Connector 44">
            <a:extLst>
              <a:ext uri="{FF2B5EF4-FFF2-40B4-BE49-F238E27FC236}">
                <a16:creationId xmlns:a16="http://schemas.microsoft.com/office/drawing/2014/main" id="{8601BB97-5FC4-DEB7-D649-F34414842805}"/>
              </a:ext>
            </a:extLst>
          </p:cNvPr>
          <p:cNvCxnSpPr>
            <a:cxnSpLocks/>
          </p:cNvCxnSpPr>
          <p:nvPr/>
        </p:nvCxnSpPr>
        <p:spPr>
          <a:xfrm flipH="1">
            <a:off x="2862286" y="3967271"/>
            <a:ext cx="7387277" cy="11989"/>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a:extLst>
              <a:ext uri="{FF2B5EF4-FFF2-40B4-BE49-F238E27FC236}">
                <a16:creationId xmlns:a16="http://schemas.microsoft.com/office/drawing/2014/main" id="{D54D659B-53C6-BA51-4B0A-81E5EF4EA12F}"/>
              </a:ext>
            </a:extLst>
          </p:cNvPr>
          <p:cNvCxnSpPr>
            <a:cxnSpLocks/>
          </p:cNvCxnSpPr>
          <p:nvPr/>
        </p:nvCxnSpPr>
        <p:spPr>
          <a:xfrm flipH="1">
            <a:off x="2862286" y="3605624"/>
            <a:ext cx="7387277" cy="22464"/>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51" name="Connector: Curved 50">
            <a:extLst>
              <a:ext uri="{FF2B5EF4-FFF2-40B4-BE49-F238E27FC236}">
                <a16:creationId xmlns:a16="http://schemas.microsoft.com/office/drawing/2014/main" id="{76B47122-EF10-A0BC-CEB4-15DAA4B90024}"/>
              </a:ext>
            </a:extLst>
          </p:cNvPr>
          <p:cNvCxnSpPr>
            <a:cxnSpLocks/>
          </p:cNvCxnSpPr>
          <p:nvPr/>
        </p:nvCxnSpPr>
        <p:spPr>
          <a:xfrm rot="16200000" flipH="1">
            <a:off x="4012791" y="2824301"/>
            <a:ext cx="1031042" cy="604461"/>
          </a:xfrm>
          <a:prstGeom prst="curvedConnector4">
            <a:avLst>
              <a:gd name="adj1" fmla="val -9709"/>
              <a:gd name="adj2" fmla="val 152114"/>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Connector: Curved 57">
            <a:extLst>
              <a:ext uri="{FF2B5EF4-FFF2-40B4-BE49-F238E27FC236}">
                <a16:creationId xmlns:a16="http://schemas.microsoft.com/office/drawing/2014/main" id="{065A0558-35B1-9CD2-2562-3B77BD0C2BAA}"/>
              </a:ext>
            </a:extLst>
          </p:cNvPr>
          <p:cNvCxnSpPr/>
          <p:nvPr/>
        </p:nvCxnSpPr>
        <p:spPr>
          <a:xfrm rot="5400000" flipH="1" flipV="1">
            <a:off x="4803900" y="2011093"/>
            <a:ext cx="12700" cy="1184333"/>
          </a:xfrm>
          <a:prstGeom prst="curvedConnector3">
            <a:avLst>
              <a:gd name="adj1" fmla="val 1800000"/>
            </a:avLst>
          </a:prstGeom>
          <a:ln w="9525" cap="rnd">
            <a:solidFill>
              <a:srgbClr val="006037"/>
            </a:solidFill>
            <a:prstDash val="sysDash"/>
            <a:round/>
            <a:tailEnd type="triangle"/>
          </a:ln>
        </p:spPr>
        <p:style>
          <a:lnRef idx="1">
            <a:schemeClr val="accent1"/>
          </a:lnRef>
          <a:fillRef idx="0">
            <a:schemeClr val="accent1"/>
          </a:fillRef>
          <a:effectRef idx="0">
            <a:schemeClr val="accent1"/>
          </a:effectRef>
          <a:fontRef idx="minor">
            <a:schemeClr val="tx1"/>
          </a:fontRef>
        </p:style>
      </p:cxnSp>
      <p:cxnSp>
        <p:nvCxnSpPr>
          <p:cNvPr id="99" name="Connector: Curved 98">
            <a:extLst>
              <a:ext uri="{FF2B5EF4-FFF2-40B4-BE49-F238E27FC236}">
                <a16:creationId xmlns:a16="http://schemas.microsoft.com/office/drawing/2014/main" id="{B7C6BD69-038C-3709-6A53-751A8F0356FE}"/>
              </a:ext>
            </a:extLst>
          </p:cNvPr>
          <p:cNvCxnSpPr>
            <a:cxnSpLocks/>
          </p:cNvCxnSpPr>
          <p:nvPr/>
        </p:nvCxnSpPr>
        <p:spPr>
          <a:xfrm rot="16200000" flipH="1">
            <a:off x="5823258" y="4565108"/>
            <a:ext cx="774274" cy="745180"/>
          </a:xfrm>
          <a:prstGeom prst="curvedConnector3">
            <a:avLst>
              <a:gd name="adj1" fmla="val 14571"/>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5FC5FF59-2617-5896-B1E4-7B1D7A887306}"/>
              </a:ext>
            </a:extLst>
          </p:cNvPr>
          <p:cNvSpPr/>
          <p:nvPr/>
        </p:nvSpPr>
        <p:spPr>
          <a:xfrm>
            <a:off x="213360" y="1486533"/>
            <a:ext cx="152590" cy="4705584"/>
          </a:xfrm>
          <a:prstGeom prst="rect">
            <a:avLst/>
          </a:prstGeom>
          <a:solidFill>
            <a:srgbClr val="CAE5E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100" dirty="0">
                <a:solidFill>
                  <a:srgbClr val="0070C0"/>
                </a:solidFill>
              </a:rPr>
              <a:t>Strategic areas</a:t>
            </a:r>
          </a:p>
        </p:txBody>
      </p:sp>
    </p:spTree>
    <p:extLst>
      <p:ext uri="{BB962C8B-B14F-4D97-AF65-F5344CB8AC3E}">
        <p14:creationId xmlns:p14="http://schemas.microsoft.com/office/powerpoint/2010/main" val="3918689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27431F-ECC8-4C5F-09A4-F07431047F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Object 3" hidden="1">
                        <a:extLst>
                          <a:ext uri="{FF2B5EF4-FFF2-40B4-BE49-F238E27FC236}">
                            <a16:creationId xmlns:a16="http://schemas.microsoft.com/office/drawing/2014/main" id="{EA27431F-ECC8-4C5F-09A4-F07431047F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a:extLst>
              <a:ext uri="{FF2B5EF4-FFF2-40B4-BE49-F238E27FC236}">
                <a16:creationId xmlns:a16="http://schemas.microsoft.com/office/drawing/2014/main" id="{5FBBC4E6-86FD-63A9-49D4-1ADD15CB86B2}"/>
              </a:ext>
            </a:extLst>
          </p:cNvPr>
          <p:cNvSpPr/>
          <p:nvPr/>
        </p:nvSpPr>
        <p:spPr>
          <a:xfrm>
            <a:off x="10376637" y="1459594"/>
            <a:ext cx="1529613" cy="4780550"/>
          </a:xfrm>
          <a:prstGeom prst="rect">
            <a:avLst/>
          </a:prstGeom>
          <a:solidFill>
            <a:srgbClr val="CAE5E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06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a:extLst>
              <a:ext uri="{FF2B5EF4-FFF2-40B4-BE49-F238E27FC236}">
                <a16:creationId xmlns:a16="http://schemas.microsoft.com/office/drawing/2014/main" id="{8E40274F-E4B1-6B1E-4757-E5678CAE32AA}"/>
              </a:ext>
            </a:extLst>
          </p:cNvPr>
          <p:cNvSpPr>
            <a:spLocks noGrp="1"/>
          </p:cNvSpPr>
          <p:nvPr>
            <p:ph type="title"/>
          </p:nvPr>
        </p:nvSpPr>
        <p:spPr>
          <a:xfrm>
            <a:off x="459784" y="576503"/>
            <a:ext cx="11082528" cy="332399"/>
          </a:xfrm>
        </p:spPr>
        <p:txBody>
          <a:bodyPr vert="horz"/>
          <a:lstStyle/>
          <a:p>
            <a:r>
              <a:rPr lang="en-US" b="1" dirty="0"/>
              <a:t>Roadmap to accelerate progress on Postpartum </a:t>
            </a:r>
            <a:r>
              <a:rPr lang="en-US" b="1" dirty="0" err="1"/>
              <a:t>Haemorrhage</a:t>
            </a:r>
            <a:endParaRPr lang="en-US" b="1" dirty="0"/>
          </a:p>
        </p:txBody>
      </p:sp>
      <p:sp>
        <p:nvSpPr>
          <p:cNvPr id="71" name="Isosceles Triangle 70">
            <a:extLst>
              <a:ext uri="{FF2B5EF4-FFF2-40B4-BE49-F238E27FC236}">
                <a16:creationId xmlns:a16="http://schemas.microsoft.com/office/drawing/2014/main" id="{6D471EAA-EFC1-964C-8A0C-74F39F8D3C52}"/>
              </a:ext>
            </a:extLst>
          </p:cNvPr>
          <p:cNvSpPr>
            <a:spLocks/>
          </p:cNvSpPr>
          <p:nvPr/>
        </p:nvSpPr>
        <p:spPr>
          <a:xfrm flipV="1">
            <a:off x="5010603" y="5696424"/>
            <a:ext cx="182257" cy="151981"/>
          </a:xfrm>
          <a:prstGeom prst="triangle">
            <a:avLst/>
          </a:prstGeom>
          <a:solidFill>
            <a:srgbClr val="E71C57"/>
          </a:solidFill>
          <a:ln w="9525" cap="rnd" cmpd="sng" algn="ctr">
            <a:solidFill>
              <a:srgbClr val="F44A4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72" name="ee4pContent1">
            <a:extLst>
              <a:ext uri="{FF2B5EF4-FFF2-40B4-BE49-F238E27FC236}">
                <a16:creationId xmlns:a16="http://schemas.microsoft.com/office/drawing/2014/main" id="{A9059DD4-A81B-7AE3-197B-BCDE6C593976}"/>
              </a:ext>
            </a:extLst>
          </p:cNvPr>
          <p:cNvSpPr txBox="1"/>
          <p:nvPr/>
        </p:nvSpPr>
        <p:spPr>
          <a:xfrm>
            <a:off x="3832039" y="5781029"/>
            <a:ext cx="1559806" cy="459114"/>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marR="0" lvl="0" algn="r"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lang="en-US" sz="1100" b="1" dirty="0">
                <a:solidFill>
                  <a:srgbClr val="002060"/>
                </a:solidFill>
              </a:rPr>
              <a:t>Global branding strategy </a:t>
            </a:r>
            <a:r>
              <a:rPr lang="en-US" sz="1100" dirty="0"/>
              <a:t>and advocacy framework</a:t>
            </a:r>
          </a:p>
        </p:txBody>
      </p:sp>
      <p:sp>
        <p:nvSpPr>
          <p:cNvPr id="75" name="Isosceles Triangle 74">
            <a:extLst>
              <a:ext uri="{FF2B5EF4-FFF2-40B4-BE49-F238E27FC236}">
                <a16:creationId xmlns:a16="http://schemas.microsoft.com/office/drawing/2014/main" id="{32B0E475-76E5-E953-C93B-9830BDBD09C4}"/>
              </a:ext>
            </a:extLst>
          </p:cNvPr>
          <p:cNvSpPr>
            <a:spLocks/>
          </p:cNvSpPr>
          <p:nvPr/>
        </p:nvSpPr>
        <p:spPr>
          <a:xfrm flipV="1">
            <a:off x="5801907" y="5696424"/>
            <a:ext cx="182257" cy="151981"/>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88" name="ee4pContent1">
            <a:extLst>
              <a:ext uri="{FF2B5EF4-FFF2-40B4-BE49-F238E27FC236}">
                <a16:creationId xmlns:a16="http://schemas.microsoft.com/office/drawing/2014/main" id="{D4C4D371-CDB4-8173-ED97-3F3B210DEFD7}"/>
              </a:ext>
            </a:extLst>
          </p:cNvPr>
          <p:cNvSpPr txBox="1"/>
          <p:nvPr/>
        </p:nvSpPr>
        <p:spPr>
          <a:xfrm>
            <a:off x="5609798" y="5841309"/>
            <a:ext cx="566476" cy="338554"/>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marR="0" lvl="0" algn="r"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lang="en-US" sz="1100" dirty="0">
                <a:solidFill>
                  <a:srgbClr val="262626"/>
                </a:solidFill>
              </a:rPr>
              <a:t>1</a:t>
            </a:r>
            <a:r>
              <a:rPr lang="en-US" sz="1100" baseline="30000" dirty="0">
                <a:solidFill>
                  <a:srgbClr val="262626"/>
                </a:solidFill>
              </a:rPr>
              <a:t>st</a:t>
            </a:r>
            <a:r>
              <a:rPr lang="en-US" sz="1100" dirty="0">
                <a:solidFill>
                  <a:srgbClr val="262626"/>
                </a:solidFill>
              </a:rPr>
              <a:t> Global </a:t>
            </a:r>
            <a:r>
              <a:rPr lang="en-US" sz="1100" b="1" dirty="0">
                <a:solidFill>
                  <a:srgbClr val="002060"/>
                </a:solidFill>
              </a:rPr>
              <a:t>PPH day</a:t>
            </a:r>
          </a:p>
        </p:txBody>
      </p:sp>
      <p:cxnSp>
        <p:nvCxnSpPr>
          <p:cNvPr id="87" name="Straight Connector 86">
            <a:extLst>
              <a:ext uri="{FF2B5EF4-FFF2-40B4-BE49-F238E27FC236}">
                <a16:creationId xmlns:a16="http://schemas.microsoft.com/office/drawing/2014/main" id="{4A261815-3363-A72A-23A5-A72E3E6ED436}"/>
              </a:ext>
            </a:extLst>
          </p:cNvPr>
          <p:cNvCxnSpPr>
            <a:cxnSpLocks/>
          </p:cNvCxnSpPr>
          <p:nvPr/>
        </p:nvCxnSpPr>
        <p:spPr>
          <a:xfrm>
            <a:off x="457080" y="1454093"/>
            <a:ext cx="11449170" cy="0"/>
          </a:xfrm>
          <a:prstGeom prst="line">
            <a:avLst/>
          </a:prstGeom>
          <a:ln w="17145" cap="flat" cmpd="sng" algn="ctr">
            <a:solidFill>
              <a:srgbClr val="000000"/>
            </a:solidFill>
            <a:prstDash val="solid"/>
            <a:round/>
            <a:headEnd type="none" w="med" len="med"/>
            <a:tailEnd type="none" w="med" len="med"/>
          </a:ln>
        </p:spPr>
      </p:cxnSp>
      <p:sp>
        <p:nvSpPr>
          <p:cNvPr id="12" name="Isosceles Triangle 11">
            <a:extLst>
              <a:ext uri="{FF2B5EF4-FFF2-40B4-BE49-F238E27FC236}">
                <a16:creationId xmlns:a16="http://schemas.microsoft.com/office/drawing/2014/main" id="{05749DB0-43EE-347A-0C85-960099D74903}"/>
              </a:ext>
            </a:extLst>
          </p:cNvPr>
          <p:cNvSpPr>
            <a:spLocks/>
          </p:cNvSpPr>
          <p:nvPr/>
        </p:nvSpPr>
        <p:spPr>
          <a:xfrm flipV="1">
            <a:off x="4178546" y="1646985"/>
            <a:ext cx="182257" cy="140352"/>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381" tIns="64191" rIns="128381" bIns="64191" numCol="1" spcCol="0" rtlCol="0" fromWordArt="0" anchor="ctr" anchorCtr="0" forceAA="0" compatLnSpc="1">
            <a:prstTxWarp prst="textNoShape">
              <a:avLst/>
            </a:prstTxWarp>
            <a:noAutofit/>
          </a:bodyPr>
          <a:lstStyle/>
          <a:p>
            <a:pPr algn="ctr"/>
            <a:endParaRPr lang="en-US" sz="1000" dirty="0">
              <a:solidFill>
                <a:srgbClr val="FFFFFF"/>
              </a:solidFill>
              <a:cs typeface="Calibri Light" panose="020F0302020204030204" pitchFamily="34" charset="0"/>
              <a:sym typeface="Calibri Light" panose="020F0302020204030204" pitchFamily="34" charset="0"/>
            </a:endParaRPr>
          </a:p>
        </p:txBody>
      </p:sp>
      <p:sp>
        <p:nvSpPr>
          <p:cNvPr id="15" name="ee4pContent1">
            <a:extLst>
              <a:ext uri="{FF2B5EF4-FFF2-40B4-BE49-F238E27FC236}">
                <a16:creationId xmlns:a16="http://schemas.microsoft.com/office/drawing/2014/main" id="{644E12C7-97A7-310F-B216-C38D39EF32F3}"/>
              </a:ext>
            </a:extLst>
          </p:cNvPr>
          <p:cNvSpPr txBox="1"/>
          <p:nvPr/>
        </p:nvSpPr>
        <p:spPr>
          <a:xfrm>
            <a:off x="3625635" y="1803109"/>
            <a:ext cx="1288080"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b="1" kern="1200" dirty="0">
                <a:solidFill>
                  <a:srgbClr val="002060"/>
                </a:solidFill>
                <a:effectLst/>
              </a:rPr>
              <a:t>Calls for proposals</a:t>
            </a:r>
            <a:r>
              <a:rPr lang="en-US" sz="1100" kern="1200" dirty="0">
                <a:solidFill>
                  <a:srgbClr val="262626"/>
                </a:solidFill>
                <a:effectLst/>
              </a:rPr>
              <a:t> to conduct top priority research</a:t>
            </a:r>
            <a:endParaRPr lang="en-US" sz="1100" dirty="0">
              <a:effectLst/>
              <a:ea typeface="Calibri" panose="020F0502020204030204" pitchFamily="34" charset="0"/>
              <a:cs typeface="Calibri" panose="020F0502020204030204" pitchFamily="34" charset="0"/>
            </a:endParaRPr>
          </a:p>
        </p:txBody>
      </p:sp>
      <p:sp>
        <p:nvSpPr>
          <p:cNvPr id="86" name="Isosceles Triangle 85">
            <a:extLst>
              <a:ext uri="{FF2B5EF4-FFF2-40B4-BE49-F238E27FC236}">
                <a16:creationId xmlns:a16="http://schemas.microsoft.com/office/drawing/2014/main" id="{BE9917D7-2FE7-5829-DD48-D5FDFFE323EA}"/>
              </a:ext>
            </a:extLst>
          </p:cNvPr>
          <p:cNvSpPr>
            <a:spLocks/>
          </p:cNvSpPr>
          <p:nvPr/>
        </p:nvSpPr>
        <p:spPr>
          <a:xfrm flipV="1">
            <a:off x="5396067" y="2603259"/>
            <a:ext cx="182257" cy="140352"/>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103" name="ee4pContent1">
            <a:extLst>
              <a:ext uri="{FF2B5EF4-FFF2-40B4-BE49-F238E27FC236}">
                <a16:creationId xmlns:a16="http://schemas.microsoft.com/office/drawing/2014/main" id="{154FA9E1-451F-8155-C2DC-A4D72CCD4E64}"/>
              </a:ext>
            </a:extLst>
          </p:cNvPr>
          <p:cNvSpPr txBox="1"/>
          <p:nvPr/>
        </p:nvSpPr>
        <p:spPr>
          <a:xfrm>
            <a:off x="5066983" y="2761844"/>
            <a:ext cx="1868130"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kern="1200" dirty="0">
                <a:solidFill>
                  <a:srgbClr val="262626"/>
                </a:solidFill>
                <a:effectLst/>
              </a:rPr>
              <a:t>Publication and updating of </a:t>
            </a:r>
            <a:r>
              <a:rPr lang="en-US" sz="1100" b="1" kern="1200" dirty="0">
                <a:solidFill>
                  <a:srgbClr val="002060"/>
                </a:solidFill>
                <a:effectLst/>
              </a:rPr>
              <a:t>consolidated guidelines and derivative tools</a:t>
            </a:r>
            <a:endParaRPr lang="en-US" sz="1100" dirty="0">
              <a:effectLst/>
              <a:ea typeface="Calibri" panose="020F0502020204030204" pitchFamily="34" charset="0"/>
              <a:cs typeface="Calibri" panose="020F0502020204030204" pitchFamily="34" charset="0"/>
            </a:endParaRPr>
          </a:p>
        </p:txBody>
      </p:sp>
      <p:cxnSp>
        <p:nvCxnSpPr>
          <p:cNvPr id="59" name="Straight Connector 58">
            <a:extLst>
              <a:ext uri="{FF2B5EF4-FFF2-40B4-BE49-F238E27FC236}">
                <a16:creationId xmlns:a16="http://schemas.microsoft.com/office/drawing/2014/main" id="{C2A97701-47D0-9BEF-D0CE-D576BB47785A}"/>
              </a:ext>
            </a:extLst>
          </p:cNvPr>
          <p:cNvCxnSpPr/>
          <p:nvPr/>
        </p:nvCxnSpPr>
        <p:spPr>
          <a:xfrm>
            <a:off x="457078" y="3456185"/>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91790CB-907C-864C-6EE1-ACC8767A8BF3}"/>
              </a:ext>
            </a:extLst>
          </p:cNvPr>
          <p:cNvCxnSpPr>
            <a:cxnSpLocks/>
          </p:cNvCxnSpPr>
          <p:nvPr/>
        </p:nvCxnSpPr>
        <p:spPr>
          <a:xfrm>
            <a:off x="457080" y="2452067"/>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B9F747E-05CD-2096-5A92-265588BC9176}"/>
              </a:ext>
            </a:extLst>
          </p:cNvPr>
          <p:cNvCxnSpPr/>
          <p:nvPr/>
        </p:nvCxnSpPr>
        <p:spPr>
          <a:xfrm>
            <a:off x="457078" y="5161343"/>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122" name="Isosceles Triangle 121">
            <a:extLst>
              <a:ext uri="{FF2B5EF4-FFF2-40B4-BE49-F238E27FC236}">
                <a16:creationId xmlns:a16="http://schemas.microsoft.com/office/drawing/2014/main" id="{DA807613-63D6-63C9-4738-E0523C80C84E}"/>
              </a:ext>
            </a:extLst>
          </p:cNvPr>
          <p:cNvSpPr>
            <a:spLocks/>
          </p:cNvSpPr>
          <p:nvPr/>
        </p:nvSpPr>
        <p:spPr>
          <a:xfrm flipV="1">
            <a:off x="7397161" y="1629513"/>
            <a:ext cx="182257" cy="140352"/>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127" name="ee4pContent1">
            <a:extLst>
              <a:ext uri="{FF2B5EF4-FFF2-40B4-BE49-F238E27FC236}">
                <a16:creationId xmlns:a16="http://schemas.microsoft.com/office/drawing/2014/main" id="{93A24DB2-AAF6-9AB3-E422-9FB53185FC4D}"/>
              </a:ext>
            </a:extLst>
          </p:cNvPr>
          <p:cNvSpPr txBox="1"/>
          <p:nvPr/>
        </p:nvSpPr>
        <p:spPr>
          <a:xfrm>
            <a:off x="6143397" y="1803109"/>
            <a:ext cx="2689786"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b="1" kern="1200" dirty="0">
                <a:solidFill>
                  <a:srgbClr val="002060"/>
                </a:solidFill>
                <a:effectLst/>
              </a:rPr>
              <a:t>Publication &amp; dissemination of results completed for the first batch</a:t>
            </a:r>
            <a:r>
              <a:rPr lang="en-US" sz="1100" kern="1200" dirty="0">
                <a:solidFill>
                  <a:srgbClr val="262626"/>
                </a:solidFill>
                <a:effectLst/>
                <a:ea typeface="Calibri" panose="020F0502020204030204" pitchFamily="34" charset="0"/>
                <a:cs typeface="Mangal" panose="02040503050203030202" pitchFamily="18" charset="0"/>
              </a:rPr>
              <a:t> of funded research for integration into global guidelines</a:t>
            </a:r>
            <a:endParaRPr lang="en-US" sz="1100" dirty="0">
              <a:effectLst/>
              <a:ea typeface="Calibri" panose="020F0502020204030204" pitchFamily="34" charset="0"/>
              <a:cs typeface="Calibri" panose="020F0502020204030204" pitchFamily="34" charset="0"/>
            </a:endParaRPr>
          </a:p>
        </p:txBody>
      </p:sp>
      <p:sp>
        <p:nvSpPr>
          <p:cNvPr id="128" name="Isosceles Triangle 127">
            <a:extLst>
              <a:ext uri="{FF2B5EF4-FFF2-40B4-BE49-F238E27FC236}">
                <a16:creationId xmlns:a16="http://schemas.microsoft.com/office/drawing/2014/main" id="{FE036EAC-33EC-5042-3862-004E6056AC53}"/>
              </a:ext>
            </a:extLst>
          </p:cNvPr>
          <p:cNvSpPr>
            <a:spLocks/>
          </p:cNvSpPr>
          <p:nvPr/>
        </p:nvSpPr>
        <p:spPr>
          <a:xfrm flipV="1">
            <a:off x="9797258" y="1629513"/>
            <a:ext cx="182257" cy="140352"/>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8" name="ee4pContent1">
            <a:extLst>
              <a:ext uri="{FF2B5EF4-FFF2-40B4-BE49-F238E27FC236}">
                <a16:creationId xmlns:a16="http://schemas.microsoft.com/office/drawing/2014/main" id="{01956C08-FD88-86A1-0BDB-5AD56F67CF74}"/>
              </a:ext>
            </a:extLst>
          </p:cNvPr>
          <p:cNvSpPr txBox="1"/>
          <p:nvPr/>
        </p:nvSpPr>
        <p:spPr>
          <a:xfrm>
            <a:off x="9345023" y="1803109"/>
            <a:ext cx="1086726"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kern="1200" dirty="0">
                <a:solidFill>
                  <a:srgbClr val="262626"/>
                </a:solidFill>
                <a:effectLst/>
                <a:ea typeface="Calibri" panose="020F0502020204030204" pitchFamily="34" charset="0"/>
                <a:cs typeface="Mangal" panose="02040503050203030202" pitchFamily="18" charset="0"/>
              </a:rPr>
              <a:t>Review of pending/new </a:t>
            </a:r>
            <a:r>
              <a:rPr lang="en-US" sz="1100" b="1" kern="1200" dirty="0">
                <a:solidFill>
                  <a:srgbClr val="002060"/>
                </a:solidFill>
                <a:effectLst/>
              </a:rPr>
              <a:t>research gaps</a:t>
            </a:r>
            <a:endParaRPr lang="en-US" sz="1100" dirty="0">
              <a:effectLst/>
              <a:ea typeface="Calibri" panose="020F0502020204030204" pitchFamily="34" charset="0"/>
              <a:cs typeface="Calibri" panose="020F0502020204030204" pitchFamily="34" charset="0"/>
            </a:endParaRPr>
          </a:p>
          <a:p>
            <a:pPr algn="ctr"/>
            <a:r>
              <a:rPr lang="en-US" sz="1100" kern="1200" dirty="0">
                <a:solidFill>
                  <a:srgbClr val="262626"/>
                </a:solidFill>
                <a:effectLst/>
                <a:ea typeface="Calibri" panose="020F0502020204030204" pitchFamily="34" charset="0"/>
                <a:cs typeface="Mangal" panose="02040503050203030202" pitchFamily="18" charset="0"/>
              </a:rPr>
              <a:t> </a:t>
            </a:r>
            <a:endParaRPr lang="en-US" sz="1100" dirty="0">
              <a:effectLst/>
              <a:ea typeface="Calibri" panose="020F0502020204030204" pitchFamily="34" charset="0"/>
              <a:cs typeface="Calibri" panose="020F0502020204030204" pitchFamily="34" charset="0"/>
            </a:endParaRPr>
          </a:p>
        </p:txBody>
      </p:sp>
      <p:sp>
        <p:nvSpPr>
          <p:cNvPr id="28" name="Rectangle 27">
            <a:extLst>
              <a:ext uri="{FF2B5EF4-FFF2-40B4-BE49-F238E27FC236}">
                <a16:creationId xmlns:a16="http://schemas.microsoft.com/office/drawing/2014/main" id="{BFD558AF-6B7D-2F9E-52CC-B7D254AD25E7}"/>
              </a:ext>
            </a:extLst>
          </p:cNvPr>
          <p:cNvSpPr/>
          <p:nvPr/>
        </p:nvSpPr>
        <p:spPr>
          <a:xfrm>
            <a:off x="10365666" y="1625491"/>
            <a:ext cx="1540584" cy="73866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dirty="0">
                <a:solidFill>
                  <a:srgbClr val="262626"/>
                </a:solidFill>
              </a:rPr>
              <a:t>All </a:t>
            </a:r>
            <a:r>
              <a:rPr lang="en-US" sz="1000" b="1" dirty="0">
                <a:solidFill>
                  <a:srgbClr val="0070C0"/>
                </a:solidFill>
              </a:rPr>
              <a:t>priority questions </a:t>
            </a:r>
            <a:r>
              <a:rPr lang="en-US" sz="1000" dirty="0">
                <a:solidFill>
                  <a:srgbClr val="262626"/>
                </a:solidFill>
              </a:rPr>
              <a:t>of the research agenda have been </a:t>
            </a:r>
            <a:r>
              <a:rPr lang="en-US" sz="1000" b="1" dirty="0">
                <a:solidFill>
                  <a:srgbClr val="0070C0"/>
                </a:solidFill>
              </a:rPr>
              <a:t>answered</a:t>
            </a:r>
          </a:p>
        </p:txBody>
      </p:sp>
      <p:sp>
        <p:nvSpPr>
          <p:cNvPr id="33" name="Rectangle 32">
            <a:extLst>
              <a:ext uri="{FF2B5EF4-FFF2-40B4-BE49-F238E27FC236}">
                <a16:creationId xmlns:a16="http://schemas.microsoft.com/office/drawing/2014/main" id="{A4E5630D-FDB3-13A9-83EF-81F32D1CC222}"/>
              </a:ext>
            </a:extLst>
          </p:cNvPr>
          <p:cNvSpPr/>
          <p:nvPr/>
        </p:nvSpPr>
        <p:spPr>
          <a:xfrm>
            <a:off x="10392215" y="2427559"/>
            <a:ext cx="1508298" cy="1058024"/>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b="1" dirty="0">
                <a:solidFill>
                  <a:srgbClr val="0070C0"/>
                </a:solidFill>
              </a:rPr>
              <a:t>Global guidelines </a:t>
            </a:r>
            <a:r>
              <a:rPr lang="en-US" sz="1000" dirty="0">
                <a:solidFill>
                  <a:srgbClr val="262626"/>
                </a:solidFill>
              </a:rPr>
              <a:t>reflect latest evidence available, and are cascaded into </a:t>
            </a:r>
            <a:r>
              <a:rPr lang="en-US" sz="1000" b="1" dirty="0">
                <a:solidFill>
                  <a:srgbClr val="0070C0"/>
                </a:solidFill>
              </a:rPr>
              <a:t>national guidelines</a:t>
            </a:r>
            <a:r>
              <a:rPr lang="en-US" sz="1000" dirty="0">
                <a:solidFill>
                  <a:srgbClr val="262626"/>
                </a:solidFill>
              </a:rPr>
              <a:t>, with clear clinical protocols</a:t>
            </a:r>
          </a:p>
        </p:txBody>
      </p:sp>
      <p:sp>
        <p:nvSpPr>
          <p:cNvPr id="37" name="Rectangle 36">
            <a:extLst>
              <a:ext uri="{FF2B5EF4-FFF2-40B4-BE49-F238E27FC236}">
                <a16:creationId xmlns:a16="http://schemas.microsoft.com/office/drawing/2014/main" id="{6F093D76-7A15-3A77-1CB1-5CBCB051ED5C}"/>
              </a:ext>
            </a:extLst>
          </p:cNvPr>
          <p:cNvSpPr/>
          <p:nvPr/>
        </p:nvSpPr>
        <p:spPr>
          <a:xfrm>
            <a:off x="10365666" y="5159713"/>
            <a:ext cx="1540584" cy="1118325"/>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Successful </a:t>
            </a:r>
            <a:r>
              <a:rPr lang="en-US" sz="1000" b="1" dirty="0">
                <a:solidFill>
                  <a:srgbClr val="0070C0"/>
                </a:solidFill>
              </a:rPr>
              <a:t>engagement</a:t>
            </a:r>
            <a:r>
              <a:rPr lang="en-US" sz="990" dirty="0">
                <a:solidFill>
                  <a:srgbClr val="262626"/>
                </a:solidFill>
              </a:rPr>
              <a:t> of all target audiences</a:t>
            </a:r>
          </a:p>
        </p:txBody>
      </p:sp>
      <p:sp>
        <p:nvSpPr>
          <p:cNvPr id="52" name="Rectangle 51">
            <a:extLst>
              <a:ext uri="{FF2B5EF4-FFF2-40B4-BE49-F238E27FC236}">
                <a16:creationId xmlns:a16="http://schemas.microsoft.com/office/drawing/2014/main" id="{880152E6-9F98-95E0-7F52-1D8F4B9FA47D}"/>
              </a:ext>
            </a:extLst>
          </p:cNvPr>
          <p:cNvSpPr/>
          <p:nvPr/>
        </p:nvSpPr>
        <p:spPr>
          <a:xfrm>
            <a:off x="10376637" y="980477"/>
            <a:ext cx="1529613" cy="293659"/>
          </a:xfrm>
          <a:prstGeom prst="rect">
            <a:avLst/>
          </a:prstGeom>
          <a:solidFill>
            <a:srgbClr val="CAE5E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06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0070C0"/>
                </a:solidFill>
              </a:rPr>
              <a:t>Objective</a:t>
            </a:r>
          </a:p>
        </p:txBody>
      </p:sp>
      <p:sp>
        <p:nvSpPr>
          <p:cNvPr id="29" name="Arrow: Chevron 28">
            <a:extLst>
              <a:ext uri="{FF2B5EF4-FFF2-40B4-BE49-F238E27FC236}">
                <a16:creationId xmlns:a16="http://schemas.microsoft.com/office/drawing/2014/main" id="{408B3DFE-0689-D9CC-1C1C-1CC48019BD29}"/>
              </a:ext>
            </a:extLst>
          </p:cNvPr>
          <p:cNvSpPr/>
          <p:nvPr/>
        </p:nvSpPr>
        <p:spPr>
          <a:xfrm>
            <a:off x="1448148" y="980477"/>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60" b="0" i="0" u="none" strike="noStrike" kern="1200" cap="none" spc="0" normalizeH="0" baseline="0" noProof="0" dirty="0">
                <a:ln>
                  <a:noFill/>
                </a:ln>
                <a:solidFill>
                  <a:srgbClr val="FFFFFF"/>
                </a:solidFill>
                <a:effectLst/>
                <a:uLnTx/>
                <a:uFillTx/>
                <a:ea typeface="+mn-ea"/>
                <a:cs typeface="+mn-cs"/>
              </a:rPr>
              <a:t>Q2 2023</a:t>
            </a:r>
          </a:p>
        </p:txBody>
      </p:sp>
      <p:sp>
        <p:nvSpPr>
          <p:cNvPr id="30" name="Arrow: Chevron 29">
            <a:extLst>
              <a:ext uri="{FF2B5EF4-FFF2-40B4-BE49-F238E27FC236}">
                <a16:creationId xmlns:a16="http://schemas.microsoft.com/office/drawing/2014/main" id="{58224400-680E-AA5E-4802-CAE45D742C2A}"/>
              </a:ext>
            </a:extLst>
          </p:cNvPr>
          <p:cNvSpPr/>
          <p:nvPr/>
        </p:nvSpPr>
        <p:spPr>
          <a:xfrm>
            <a:off x="2259829" y="980477"/>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defRPr/>
            </a:pPr>
            <a:r>
              <a:rPr kumimoji="0" lang="fr-FR" sz="1260" b="0" i="0" u="none" strike="noStrike" kern="1200" cap="none" spc="0" normalizeH="0" baseline="0" noProof="0" dirty="0">
                <a:ln>
                  <a:noFill/>
                </a:ln>
                <a:solidFill>
                  <a:srgbClr val="FFFFFF"/>
                </a:solidFill>
                <a:effectLst/>
                <a:uLnTx/>
                <a:uFillTx/>
                <a:ea typeface="+mn-ea"/>
                <a:cs typeface="+mn-cs"/>
              </a:rPr>
              <a:t>Q3 2023</a:t>
            </a:r>
          </a:p>
        </p:txBody>
      </p:sp>
      <p:sp>
        <p:nvSpPr>
          <p:cNvPr id="31" name="Arrow: Chevron 30">
            <a:extLst>
              <a:ext uri="{FF2B5EF4-FFF2-40B4-BE49-F238E27FC236}">
                <a16:creationId xmlns:a16="http://schemas.microsoft.com/office/drawing/2014/main" id="{2249ADC3-CC27-8EDF-1EE9-0257B1C9AE3B}"/>
              </a:ext>
            </a:extLst>
          </p:cNvPr>
          <p:cNvSpPr/>
          <p:nvPr/>
        </p:nvSpPr>
        <p:spPr>
          <a:xfrm>
            <a:off x="3071509" y="980477"/>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60" b="0" i="0" u="none" strike="noStrike" kern="1200" cap="none" spc="0" normalizeH="0" baseline="0" noProof="0" dirty="0">
                <a:ln>
                  <a:noFill/>
                </a:ln>
                <a:solidFill>
                  <a:srgbClr val="FFFFFF"/>
                </a:solidFill>
                <a:effectLst/>
                <a:uLnTx/>
                <a:uFillTx/>
                <a:ea typeface="+mn-ea"/>
                <a:cs typeface="+mn-cs"/>
              </a:rPr>
              <a:t>Q4 2023</a:t>
            </a:r>
          </a:p>
        </p:txBody>
      </p:sp>
      <p:sp>
        <p:nvSpPr>
          <p:cNvPr id="32" name="Arrow: Chevron 31">
            <a:extLst>
              <a:ext uri="{FF2B5EF4-FFF2-40B4-BE49-F238E27FC236}">
                <a16:creationId xmlns:a16="http://schemas.microsoft.com/office/drawing/2014/main" id="{14CAEDB1-E337-D8B3-EB93-8934E4F79B6C}"/>
              </a:ext>
            </a:extLst>
          </p:cNvPr>
          <p:cNvSpPr/>
          <p:nvPr/>
        </p:nvSpPr>
        <p:spPr>
          <a:xfrm>
            <a:off x="3883190" y="980477"/>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H1 2024</a:t>
            </a:r>
          </a:p>
        </p:txBody>
      </p:sp>
      <p:sp>
        <p:nvSpPr>
          <p:cNvPr id="34" name="Arrow: Chevron 33">
            <a:extLst>
              <a:ext uri="{FF2B5EF4-FFF2-40B4-BE49-F238E27FC236}">
                <a16:creationId xmlns:a16="http://schemas.microsoft.com/office/drawing/2014/main" id="{DAD64727-7929-2301-8383-7C40031E4847}"/>
              </a:ext>
            </a:extLst>
          </p:cNvPr>
          <p:cNvSpPr/>
          <p:nvPr/>
        </p:nvSpPr>
        <p:spPr>
          <a:xfrm>
            <a:off x="4694871" y="980477"/>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H2 2024</a:t>
            </a:r>
          </a:p>
        </p:txBody>
      </p:sp>
      <p:sp>
        <p:nvSpPr>
          <p:cNvPr id="80" name="Arrow: Chevron 79">
            <a:extLst>
              <a:ext uri="{FF2B5EF4-FFF2-40B4-BE49-F238E27FC236}">
                <a16:creationId xmlns:a16="http://schemas.microsoft.com/office/drawing/2014/main" id="{B5DBB5C8-43DF-882C-8963-D1D6766082DA}"/>
              </a:ext>
            </a:extLst>
          </p:cNvPr>
          <p:cNvSpPr/>
          <p:nvPr/>
        </p:nvSpPr>
        <p:spPr>
          <a:xfrm>
            <a:off x="5506552"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5</a:t>
            </a:r>
          </a:p>
        </p:txBody>
      </p:sp>
      <p:sp>
        <p:nvSpPr>
          <p:cNvPr id="81" name="Arrow: Chevron 80">
            <a:extLst>
              <a:ext uri="{FF2B5EF4-FFF2-40B4-BE49-F238E27FC236}">
                <a16:creationId xmlns:a16="http://schemas.microsoft.com/office/drawing/2014/main" id="{7EEE773F-BD05-52FA-4E5A-0A511C961F3F}"/>
              </a:ext>
            </a:extLst>
          </p:cNvPr>
          <p:cNvSpPr/>
          <p:nvPr/>
        </p:nvSpPr>
        <p:spPr>
          <a:xfrm>
            <a:off x="6318233"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6</a:t>
            </a:r>
          </a:p>
        </p:txBody>
      </p:sp>
      <p:sp>
        <p:nvSpPr>
          <p:cNvPr id="82" name="Arrow: Chevron 81">
            <a:extLst>
              <a:ext uri="{FF2B5EF4-FFF2-40B4-BE49-F238E27FC236}">
                <a16:creationId xmlns:a16="http://schemas.microsoft.com/office/drawing/2014/main" id="{0EF17916-C367-80A4-88A1-8A0C8600CC3E}"/>
              </a:ext>
            </a:extLst>
          </p:cNvPr>
          <p:cNvSpPr/>
          <p:nvPr/>
        </p:nvSpPr>
        <p:spPr>
          <a:xfrm>
            <a:off x="7129914"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7</a:t>
            </a:r>
          </a:p>
        </p:txBody>
      </p:sp>
      <p:sp>
        <p:nvSpPr>
          <p:cNvPr id="83" name="Arrow: Chevron 82">
            <a:extLst>
              <a:ext uri="{FF2B5EF4-FFF2-40B4-BE49-F238E27FC236}">
                <a16:creationId xmlns:a16="http://schemas.microsoft.com/office/drawing/2014/main" id="{BF663153-0E89-C86E-1487-6FC1CDA9FC30}"/>
              </a:ext>
            </a:extLst>
          </p:cNvPr>
          <p:cNvSpPr/>
          <p:nvPr/>
        </p:nvSpPr>
        <p:spPr>
          <a:xfrm>
            <a:off x="7941594"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8</a:t>
            </a:r>
          </a:p>
        </p:txBody>
      </p:sp>
      <p:sp>
        <p:nvSpPr>
          <p:cNvPr id="84" name="Arrow: Chevron 83">
            <a:extLst>
              <a:ext uri="{FF2B5EF4-FFF2-40B4-BE49-F238E27FC236}">
                <a16:creationId xmlns:a16="http://schemas.microsoft.com/office/drawing/2014/main" id="{6F6EF02D-FAAC-5B06-D2CD-D6CB0217B324}"/>
              </a:ext>
            </a:extLst>
          </p:cNvPr>
          <p:cNvSpPr/>
          <p:nvPr/>
        </p:nvSpPr>
        <p:spPr>
          <a:xfrm>
            <a:off x="8753275"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9</a:t>
            </a:r>
          </a:p>
        </p:txBody>
      </p:sp>
      <p:sp>
        <p:nvSpPr>
          <p:cNvPr id="85" name="Arrow: Chevron 84">
            <a:extLst>
              <a:ext uri="{FF2B5EF4-FFF2-40B4-BE49-F238E27FC236}">
                <a16:creationId xmlns:a16="http://schemas.microsoft.com/office/drawing/2014/main" id="{C01F621C-726E-427B-4176-1F404ABC0BC5}"/>
              </a:ext>
            </a:extLst>
          </p:cNvPr>
          <p:cNvSpPr/>
          <p:nvPr/>
        </p:nvSpPr>
        <p:spPr>
          <a:xfrm>
            <a:off x="9564956"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30</a:t>
            </a:r>
          </a:p>
        </p:txBody>
      </p:sp>
      <p:sp>
        <p:nvSpPr>
          <p:cNvPr id="53" name="Arrow: Chevron 52">
            <a:extLst>
              <a:ext uri="{FF2B5EF4-FFF2-40B4-BE49-F238E27FC236}">
                <a16:creationId xmlns:a16="http://schemas.microsoft.com/office/drawing/2014/main" id="{903931A9-DC3A-16FE-0F81-F57579E20FD2}"/>
              </a:ext>
            </a:extLst>
          </p:cNvPr>
          <p:cNvSpPr/>
          <p:nvPr/>
        </p:nvSpPr>
        <p:spPr>
          <a:xfrm>
            <a:off x="10322684" y="980477"/>
            <a:ext cx="99299" cy="299159"/>
          </a:xfrm>
          <a:prstGeom prst="chevron">
            <a:avLst>
              <a:gd name="adj" fmla="val 34514"/>
            </a:avLst>
          </a:prstGeom>
          <a:solidFill>
            <a:srgbClr val="FFFFFF"/>
          </a:solidFill>
          <a:ln w="8572"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endParaRPr kumimoji="0" lang="fr-FR" sz="1260" b="0" i="0" u="none" strike="noStrike" kern="1200" cap="none" spc="0" normalizeH="0" baseline="0" noProof="0" dirty="0">
              <a:ln>
                <a:noFill/>
              </a:ln>
              <a:solidFill>
                <a:srgbClr val="0070C0"/>
              </a:solidFill>
              <a:effectLst/>
              <a:uLnTx/>
              <a:uFillTx/>
              <a:ea typeface="+mn-ea"/>
              <a:cs typeface="+mn-cs"/>
            </a:endParaRPr>
          </a:p>
        </p:txBody>
      </p:sp>
      <p:sp>
        <p:nvSpPr>
          <p:cNvPr id="40" name="Arrow: Chevron 39">
            <a:extLst>
              <a:ext uri="{FF2B5EF4-FFF2-40B4-BE49-F238E27FC236}">
                <a16:creationId xmlns:a16="http://schemas.microsoft.com/office/drawing/2014/main" id="{98859B9F-FB46-5306-7C97-857849C5976D}"/>
              </a:ext>
            </a:extLst>
          </p:cNvPr>
          <p:cNvSpPr/>
          <p:nvPr/>
        </p:nvSpPr>
        <p:spPr>
          <a:xfrm>
            <a:off x="685787" y="980477"/>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100" b="1" dirty="0">
                <a:solidFill>
                  <a:srgbClr val="002060"/>
                </a:solidFill>
              </a:rPr>
              <a:t>PPH</a:t>
            </a:r>
          </a:p>
          <a:p>
            <a:pPr algn="ctr"/>
            <a:r>
              <a:rPr lang="fr-FR" sz="1100" b="1" dirty="0">
                <a:solidFill>
                  <a:srgbClr val="002060"/>
                </a:solidFill>
              </a:rPr>
              <a:t>Summit</a:t>
            </a:r>
          </a:p>
        </p:txBody>
      </p:sp>
      <p:cxnSp>
        <p:nvCxnSpPr>
          <p:cNvPr id="102" name="Straight Connector 101">
            <a:extLst>
              <a:ext uri="{FF2B5EF4-FFF2-40B4-BE49-F238E27FC236}">
                <a16:creationId xmlns:a16="http://schemas.microsoft.com/office/drawing/2014/main" id="{C7CB1139-2B0A-F637-FADA-08F2A7625CC4}"/>
              </a:ext>
            </a:extLst>
          </p:cNvPr>
          <p:cNvCxnSpPr/>
          <p:nvPr/>
        </p:nvCxnSpPr>
        <p:spPr>
          <a:xfrm>
            <a:off x="457080" y="6226424"/>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3" name="Isosceles Triangle 75">
            <a:extLst>
              <a:ext uri="{FF2B5EF4-FFF2-40B4-BE49-F238E27FC236}">
                <a16:creationId xmlns:a16="http://schemas.microsoft.com/office/drawing/2014/main" id="{ED841635-CF52-8FF3-7C36-CBC143F8BFB0}"/>
              </a:ext>
            </a:extLst>
          </p:cNvPr>
          <p:cNvSpPr>
            <a:spLocks/>
          </p:cNvSpPr>
          <p:nvPr/>
        </p:nvSpPr>
        <p:spPr>
          <a:xfrm flipV="1">
            <a:off x="4029477" y="2603259"/>
            <a:ext cx="182257" cy="140352"/>
          </a:xfrm>
          <a:prstGeom prst="triangle">
            <a:avLst/>
          </a:prstGeom>
          <a:solidFill>
            <a:srgbClr val="E71C57"/>
          </a:solidFill>
          <a:ln w="9525" cap="rnd" cmpd="sng" algn="ctr">
            <a:solidFill>
              <a:srgbClr val="E71C5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 name="ee4pContent1">
            <a:extLst>
              <a:ext uri="{FF2B5EF4-FFF2-40B4-BE49-F238E27FC236}">
                <a16:creationId xmlns:a16="http://schemas.microsoft.com/office/drawing/2014/main" id="{AF2F53D4-6E25-E43E-8808-CB1770FEC12B}"/>
              </a:ext>
            </a:extLst>
          </p:cNvPr>
          <p:cNvSpPr txBox="1"/>
          <p:nvPr/>
        </p:nvSpPr>
        <p:spPr>
          <a:xfrm>
            <a:off x="3308793" y="2761844"/>
            <a:ext cx="1623626"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kern="1200" dirty="0">
                <a:solidFill>
                  <a:srgbClr val="262626"/>
                </a:solidFill>
                <a:effectLst/>
              </a:rPr>
              <a:t>Publication of </a:t>
            </a:r>
            <a:r>
              <a:rPr lang="en-US" sz="1100" b="1" kern="1200" dirty="0">
                <a:solidFill>
                  <a:srgbClr val="002060"/>
                </a:solidFill>
                <a:effectLst/>
              </a:rPr>
              <a:t>WHO recommendations</a:t>
            </a:r>
            <a:r>
              <a:rPr lang="en-US" sz="1100" kern="1200" dirty="0">
                <a:solidFill>
                  <a:srgbClr val="262626"/>
                </a:solidFill>
                <a:effectLst/>
              </a:rPr>
              <a:t> actioning new, impactful evidence</a:t>
            </a:r>
            <a:endParaRPr lang="en-US" sz="1100" dirty="0">
              <a:effectLst/>
              <a:ea typeface="Calibri" panose="020F0502020204030204" pitchFamily="34" charset="0"/>
              <a:cs typeface="Calibri" panose="020F0502020204030204" pitchFamily="34" charset="0"/>
            </a:endParaRPr>
          </a:p>
        </p:txBody>
      </p:sp>
      <p:sp>
        <p:nvSpPr>
          <p:cNvPr id="27" name="Isosceles Triangle 26">
            <a:extLst>
              <a:ext uri="{FF2B5EF4-FFF2-40B4-BE49-F238E27FC236}">
                <a16:creationId xmlns:a16="http://schemas.microsoft.com/office/drawing/2014/main" id="{96233BDF-2CCD-8DAE-55C0-B53658FB2E51}"/>
              </a:ext>
            </a:extLst>
          </p:cNvPr>
          <p:cNvSpPr>
            <a:spLocks/>
          </p:cNvSpPr>
          <p:nvPr/>
        </p:nvSpPr>
        <p:spPr>
          <a:xfrm flipV="1">
            <a:off x="6281698" y="5696424"/>
            <a:ext cx="182257" cy="151981"/>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38" name="ee4pContent1">
            <a:extLst>
              <a:ext uri="{FF2B5EF4-FFF2-40B4-BE49-F238E27FC236}">
                <a16:creationId xmlns:a16="http://schemas.microsoft.com/office/drawing/2014/main" id="{A1CC06EA-944D-8D82-FF31-615AEBBDF2ED}"/>
              </a:ext>
            </a:extLst>
          </p:cNvPr>
          <p:cNvSpPr txBox="1"/>
          <p:nvPr/>
        </p:nvSpPr>
        <p:spPr>
          <a:xfrm>
            <a:off x="6299763" y="5842848"/>
            <a:ext cx="1362770" cy="338554"/>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spAutoFit/>
          </a:bodyPr>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marR="0" lvl="0"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lang="en-US" sz="1100" b="1" dirty="0">
                <a:solidFill>
                  <a:srgbClr val="002060"/>
                </a:solidFill>
              </a:rPr>
              <a:t>Regional and local </a:t>
            </a:r>
            <a:r>
              <a:rPr lang="en-US" sz="1100" dirty="0"/>
              <a:t>advocacy framework</a:t>
            </a:r>
          </a:p>
        </p:txBody>
      </p:sp>
      <p:cxnSp>
        <p:nvCxnSpPr>
          <p:cNvPr id="17" name="Connector: Curved 16">
            <a:extLst>
              <a:ext uri="{FF2B5EF4-FFF2-40B4-BE49-F238E27FC236}">
                <a16:creationId xmlns:a16="http://schemas.microsoft.com/office/drawing/2014/main" id="{914D73DF-9F07-CE49-97A3-76BAB66984EF}"/>
              </a:ext>
            </a:extLst>
          </p:cNvPr>
          <p:cNvCxnSpPr>
            <a:cxnSpLocks/>
          </p:cNvCxnSpPr>
          <p:nvPr/>
        </p:nvCxnSpPr>
        <p:spPr>
          <a:xfrm rot="16200000" flipH="1">
            <a:off x="7336058" y="1847434"/>
            <a:ext cx="1031042" cy="604461"/>
          </a:xfrm>
          <a:prstGeom prst="curvedConnector4">
            <a:avLst>
              <a:gd name="adj1" fmla="val -9709"/>
              <a:gd name="adj2" fmla="val 227751"/>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 name="Isosceles Triangle 40">
            <a:extLst>
              <a:ext uri="{FF2B5EF4-FFF2-40B4-BE49-F238E27FC236}">
                <a16:creationId xmlns:a16="http://schemas.microsoft.com/office/drawing/2014/main" id="{C4245E27-F1EB-A11A-170F-F00D1160077C}"/>
              </a:ext>
            </a:extLst>
          </p:cNvPr>
          <p:cNvSpPr>
            <a:spLocks/>
          </p:cNvSpPr>
          <p:nvPr/>
        </p:nvSpPr>
        <p:spPr>
          <a:xfrm flipV="1">
            <a:off x="8696497" y="5696424"/>
            <a:ext cx="182257" cy="151981"/>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42" name="ee4pContent1">
            <a:extLst>
              <a:ext uri="{FF2B5EF4-FFF2-40B4-BE49-F238E27FC236}">
                <a16:creationId xmlns:a16="http://schemas.microsoft.com/office/drawing/2014/main" id="{4E8DED7A-652A-F6BA-3023-9F3A5154B3C3}"/>
              </a:ext>
            </a:extLst>
          </p:cNvPr>
          <p:cNvSpPr txBox="1"/>
          <p:nvPr/>
        </p:nvSpPr>
        <p:spPr>
          <a:xfrm>
            <a:off x="8401141" y="5842848"/>
            <a:ext cx="772968" cy="338554"/>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marR="0" lvl="0" algn="ctr"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lang="en-US" sz="1100" b="1" dirty="0">
                <a:solidFill>
                  <a:srgbClr val="002060"/>
                </a:solidFill>
              </a:rPr>
              <a:t>Update </a:t>
            </a:r>
            <a:r>
              <a:rPr lang="en-US" sz="1100" dirty="0"/>
              <a:t>of frameworks</a:t>
            </a:r>
          </a:p>
        </p:txBody>
      </p:sp>
      <p:grpSp>
        <p:nvGrpSpPr>
          <p:cNvPr id="74" name="Group 73">
            <a:extLst>
              <a:ext uri="{FF2B5EF4-FFF2-40B4-BE49-F238E27FC236}">
                <a16:creationId xmlns:a16="http://schemas.microsoft.com/office/drawing/2014/main" id="{0EA3003D-523F-401E-8C20-A7691F51EAC6}"/>
              </a:ext>
            </a:extLst>
          </p:cNvPr>
          <p:cNvGrpSpPr/>
          <p:nvPr/>
        </p:nvGrpSpPr>
        <p:grpSpPr>
          <a:xfrm>
            <a:off x="457078" y="6497026"/>
            <a:ext cx="2775803" cy="169277"/>
            <a:chOff x="457277" y="5846680"/>
            <a:chExt cx="2775803" cy="169277"/>
          </a:xfrm>
        </p:grpSpPr>
        <p:sp>
          <p:nvSpPr>
            <p:cNvPr id="94" name="Isosceles Triangle 93">
              <a:extLst>
                <a:ext uri="{FF2B5EF4-FFF2-40B4-BE49-F238E27FC236}">
                  <a16:creationId xmlns:a16="http://schemas.microsoft.com/office/drawing/2014/main" id="{EA5F4053-2B51-42C8-B9F7-D8280841DBE6}"/>
                </a:ext>
              </a:extLst>
            </p:cNvPr>
            <p:cNvSpPr>
              <a:spLocks/>
            </p:cNvSpPr>
            <p:nvPr/>
          </p:nvSpPr>
          <p:spPr>
            <a:xfrm flipV="1">
              <a:off x="457277" y="5853892"/>
              <a:ext cx="202490" cy="154853"/>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p>
          </p:txBody>
        </p:sp>
        <p:sp>
          <p:nvSpPr>
            <p:cNvPr id="95" name="ee4pContent1">
              <a:extLst>
                <a:ext uri="{FF2B5EF4-FFF2-40B4-BE49-F238E27FC236}">
                  <a16:creationId xmlns:a16="http://schemas.microsoft.com/office/drawing/2014/main" id="{2B1BBCE6-993E-4A2B-A744-8E7371BDDA23}"/>
                </a:ext>
              </a:extLst>
            </p:cNvPr>
            <p:cNvSpPr txBox="1"/>
            <p:nvPr/>
          </p:nvSpPr>
          <p:spPr>
            <a:xfrm>
              <a:off x="713107" y="5846680"/>
              <a:ext cx="2519973" cy="1692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100" kern="1200" dirty="0">
                  <a:solidFill>
                    <a:srgbClr val="262626"/>
                  </a:solidFill>
                  <a:effectLst/>
                  <a:ea typeface="Calibri" panose="020F0502020204030204" pitchFamily="34" charset="0"/>
                  <a:cs typeface="Mangal" panose="02040503050203030202" pitchFamily="18" charset="0"/>
                </a:rPr>
                <a:t>Milestones non contingent on new funding </a:t>
              </a:r>
              <a:endParaRPr lang="en-US" sz="1100" dirty="0">
                <a:effectLst/>
                <a:ea typeface="Calibri" panose="020F0502020204030204" pitchFamily="34" charset="0"/>
                <a:cs typeface="Calibri" panose="020F0502020204030204" pitchFamily="34" charset="0"/>
              </a:endParaRPr>
            </a:p>
          </p:txBody>
        </p:sp>
      </p:grpSp>
      <p:grpSp>
        <p:nvGrpSpPr>
          <p:cNvPr id="76" name="Group 75">
            <a:extLst>
              <a:ext uri="{FF2B5EF4-FFF2-40B4-BE49-F238E27FC236}">
                <a16:creationId xmlns:a16="http://schemas.microsoft.com/office/drawing/2014/main" id="{24628872-717F-4F87-8072-840180CFFB57}"/>
              </a:ext>
            </a:extLst>
          </p:cNvPr>
          <p:cNvGrpSpPr/>
          <p:nvPr/>
        </p:nvGrpSpPr>
        <p:grpSpPr>
          <a:xfrm>
            <a:off x="3493262" y="6497026"/>
            <a:ext cx="2170256" cy="169277"/>
            <a:chOff x="913351" y="6281031"/>
            <a:chExt cx="2170256" cy="169277"/>
          </a:xfrm>
        </p:grpSpPr>
        <p:sp>
          <p:nvSpPr>
            <p:cNvPr id="92" name="Isosceles Triangle 91">
              <a:extLst>
                <a:ext uri="{FF2B5EF4-FFF2-40B4-BE49-F238E27FC236}">
                  <a16:creationId xmlns:a16="http://schemas.microsoft.com/office/drawing/2014/main" id="{D86C5BA4-1DB3-4A23-9B6D-22FEE03E2D58}"/>
                </a:ext>
              </a:extLst>
            </p:cNvPr>
            <p:cNvSpPr>
              <a:spLocks/>
            </p:cNvSpPr>
            <p:nvPr/>
          </p:nvSpPr>
          <p:spPr>
            <a:xfrm flipV="1">
              <a:off x="913351" y="6288243"/>
              <a:ext cx="202490" cy="154853"/>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p>
          </p:txBody>
        </p:sp>
        <p:sp>
          <p:nvSpPr>
            <p:cNvPr id="93" name="ee4pContent1">
              <a:extLst>
                <a:ext uri="{FF2B5EF4-FFF2-40B4-BE49-F238E27FC236}">
                  <a16:creationId xmlns:a16="http://schemas.microsoft.com/office/drawing/2014/main" id="{0D20737E-1FA9-4E3E-94C9-C86DD2FAF533}"/>
                </a:ext>
              </a:extLst>
            </p:cNvPr>
            <p:cNvSpPr txBox="1"/>
            <p:nvPr/>
          </p:nvSpPr>
          <p:spPr>
            <a:xfrm>
              <a:off x="1169181" y="6281031"/>
              <a:ext cx="1914426" cy="1692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kern="1200" dirty="0">
                  <a:solidFill>
                    <a:srgbClr val="262626"/>
                  </a:solidFill>
                  <a:effectLst/>
                  <a:ea typeface="Calibri" panose="020F0502020204030204" pitchFamily="34" charset="0"/>
                  <a:cs typeface="Mangal" panose="02040503050203030202" pitchFamily="18" charset="0"/>
                </a:rPr>
                <a:t>Milestones contingent on funding</a:t>
              </a:r>
              <a:endParaRPr lang="en-US" sz="1100" dirty="0">
                <a:effectLst/>
                <a:ea typeface="Calibri" panose="020F0502020204030204" pitchFamily="34" charset="0"/>
                <a:cs typeface="Calibri" panose="020F0502020204030204" pitchFamily="34" charset="0"/>
              </a:endParaRPr>
            </a:p>
          </p:txBody>
        </p:sp>
      </p:grpSp>
      <p:grpSp>
        <p:nvGrpSpPr>
          <p:cNvPr id="77" name="Group 76">
            <a:extLst>
              <a:ext uri="{FF2B5EF4-FFF2-40B4-BE49-F238E27FC236}">
                <a16:creationId xmlns:a16="http://schemas.microsoft.com/office/drawing/2014/main" id="{0A7176CC-9B42-4594-97B3-5C82916E126B}"/>
              </a:ext>
            </a:extLst>
          </p:cNvPr>
          <p:cNvGrpSpPr/>
          <p:nvPr/>
        </p:nvGrpSpPr>
        <p:grpSpPr>
          <a:xfrm>
            <a:off x="5923899" y="6491812"/>
            <a:ext cx="1325870" cy="179705"/>
            <a:chOff x="4080944" y="6403416"/>
            <a:chExt cx="1325870" cy="179705"/>
          </a:xfrm>
        </p:grpSpPr>
        <p:sp>
          <p:nvSpPr>
            <p:cNvPr id="90" name="ee4pContent1">
              <a:extLst>
                <a:ext uri="{FF2B5EF4-FFF2-40B4-BE49-F238E27FC236}">
                  <a16:creationId xmlns:a16="http://schemas.microsoft.com/office/drawing/2014/main" id="{C5DFBE9D-68C2-4B7A-9B54-92ED2DDC032C}"/>
                </a:ext>
              </a:extLst>
            </p:cNvPr>
            <p:cNvSpPr txBox="1"/>
            <p:nvPr/>
          </p:nvSpPr>
          <p:spPr>
            <a:xfrm>
              <a:off x="4225718" y="6403416"/>
              <a:ext cx="1181096" cy="17970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kern="1200" dirty="0">
                  <a:solidFill>
                    <a:srgbClr val="262626"/>
                  </a:solidFill>
                  <a:effectLst/>
                  <a:ea typeface="Calibri" panose="020F0502020204030204" pitchFamily="34" charset="0"/>
                  <a:cs typeface="Mangal" panose="02040503050203030202" pitchFamily="18" charset="0"/>
                </a:rPr>
                <a:t>Interdependencies</a:t>
              </a:r>
              <a:endParaRPr lang="en-US" sz="1100" dirty="0">
                <a:effectLst/>
                <a:ea typeface="Calibri" panose="020F0502020204030204" pitchFamily="34" charset="0"/>
                <a:cs typeface="Calibri" panose="020F0502020204030204" pitchFamily="34" charset="0"/>
              </a:endParaRPr>
            </a:p>
          </p:txBody>
        </p:sp>
        <p:cxnSp>
          <p:nvCxnSpPr>
            <p:cNvPr id="91" name="Connector: Curved 90">
              <a:extLst>
                <a:ext uri="{FF2B5EF4-FFF2-40B4-BE49-F238E27FC236}">
                  <a16:creationId xmlns:a16="http://schemas.microsoft.com/office/drawing/2014/main" id="{33AA0476-5935-4C62-AD99-07DF361F3E37}"/>
                </a:ext>
              </a:extLst>
            </p:cNvPr>
            <p:cNvCxnSpPr>
              <a:cxnSpLocks/>
            </p:cNvCxnSpPr>
            <p:nvPr/>
          </p:nvCxnSpPr>
          <p:spPr>
            <a:xfrm rot="16200000" flipH="1">
              <a:off x="4033253" y="6470412"/>
              <a:ext cx="141097" cy="45715"/>
            </a:xfrm>
            <a:prstGeom prst="curvedConnector4">
              <a:avLst>
                <a:gd name="adj1" fmla="val -18601"/>
                <a:gd name="adj2" fmla="val 176689"/>
              </a:avLst>
            </a:prstGeom>
            <a:noFill/>
            <a:ln w="9525" cap="rnd" cmpd="sng" algn="ctr">
              <a:solidFill>
                <a:srgbClr val="006037"/>
              </a:solidFill>
              <a:prstDash val="sysDash"/>
              <a:round/>
              <a:headEnd type="none" w="med" len="med"/>
              <a:tailEnd type="triangle" w="med" len="med"/>
            </a:ln>
            <a:effectLst/>
          </p:spPr>
        </p:cxnSp>
      </p:grpSp>
      <p:cxnSp>
        <p:nvCxnSpPr>
          <p:cNvPr id="13" name="Connector: Curved 12">
            <a:extLst>
              <a:ext uri="{FF2B5EF4-FFF2-40B4-BE49-F238E27FC236}">
                <a16:creationId xmlns:a16="http://schemas.microsoft.com/office/drawing/2014/main" id="{BED3098F-6C7C-F917-C2F0-28206F0E3ABC}"/>
              </a:ext>
            </a:extLst>
          </p:cNvPr>
          <p:cNvCxnSpPr>
            <a:cxnSpLocks/>
          </p:cNvCxnSpPr>
          <p:nvPr/>
        </p:nvCxnSpPr>
        <p:spPr>
          <a:xfrm rot="16200000" flipH="1">
            <a:off x="5383973" y="2802860"/>
            <a:ext cx="1031042" cy="604461"/>
          </a:xfrm>
          <a:prstGeom prst="curvedConnector4">
            <a:avLst>
              <a:gd name="adj1" fmla="val -9709"/>
              <a:gd name="adj2" fmla="val 227751"/>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Text Box 1593">
            <a:extLst>
              <a:ext uri="{FF2B5EF4-FFF2-40B4-BE49-F238E27FC236}">
                <a16:creationId xmlns:a16="http://schemas.microsoft.com/office/drawing/2014/main" id="{95B9BFA2-6D5A-DC5A-7CA4-BC6E100F9C56}"/>
              </a:ext>
            </a:extLst>
          </p:cNvPr>
          <p:cNvSpPr txBox="1"/>
          <p:nvPr/>
        </p:nvSpPr>
        <p:spPr>
          <a:xfrm>
            <a:off x="4178546" y="5410108"/>
            <a:ext cx="6000968" cy="15234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wrap="square" lIns="0" tIns="0" rIns="0" bIns="0" anchor="ctr">
            <a:spAutoFit/>
          </a:bodyPr>
          <a:lstStyle/>
          <a:p>
            <a:pPr>
              <a:lnSpc>
                <a:spcPct val="90000"/>
              </a:lnSpc>
            </a:pPr>
            <a:r>
              <a:rPr lang="en-US" sz="1100" b="1" dirty="0">
                <a:solidFill>
                  <a:srgbClr val="002060"/>
                </a:solidFill>
              </a:rPr>
              <a:t>Advocacy efforts</a:t>
            </a:r>
            <a:r>
              <a:rPr lang="en-US" sz="1100" dirty="0">
                <a:solidFill>
                  <a:srgbClr val="262626"/>
                </a:solidFill>
              </a:rPr>
              <a:t> to raise awareness and advocate for women to be at the centre of the political agenda</a:t>
            </a:r>
            <a:endParaRPr lang="en-US" sz="1100" dirty="0">
              <a:effectLst/>
              <a:ea typeface="Calibri" panose="020F0502020204030204" pitchFamily="34" charset="0"/>
              <a:cs typeface="Calibri" panose="020F0502020204030204" pitchFamily="34" charset="0"/>
            </a:endParaRPr>
          </a:p>
        </p:txBody>
      </p:sp>
      <p:cxnSp>
        <p:nvCxnSpPr>
          <p:cNvPr id="49" name="Straight Connector 48">
            <a:extLst>
              <a:ext uri="{FF2B5EF4-FFF2-40B4-BE49-F238E27FC236}">
                <a16:creationId xmlns:a16="http://schemas.microsoft.com/office/drawing/2014/main" id="{60A0AF74-3F41-D2C5-09A3-DC5E3B1B0F7C}"/>
              </a:ext>
            </a:extLst>
          </p:cNvPr>
          <p:cNvCxnSpPr>
            <a:cxnSpLocks/>
          </p:cNvCxnSpPr>
          <p:nvPr/>
        </p:nvCxnSpPr>
        <p:spPr>
          <a:xfrm flipH="1" flipV="1">
            <a:off x="3844477" y="5324835"/>
            <a:ext cx="6405086" cy="21218"/>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60" name="Isosceles Triangle 59">
            <a:extLst>
              <a:ext uri="{FF2B5EF4-FFF2-40B4-BE49-F238E27FC236}">
                <a16:creationId xmlns:a16="http://schemas.microsoft.com/office/drawing/2014/main" id="{E2F7336C-C81B-C56D-2800-441E856DC69E}"/>
              </a:ext>
            </a:extLst>
          </p:cNvPr>
          <p:cNvSpPr>
            <a:spLocks/>
          </p:cNvSpPr>
          <p:nvPr/>
        </p:nvSpPr>
        <p:spPr>
          <a:xfrm flipV="1">
            <a:off x="6603428" y="4254641"/>
            <a:ext cx="182257" cy="140352"/>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1" name="ee4pContent1">
            <a:extLst>
              <a:ext uri="{FF2B5EF4-FFF2-40B4-BE49-F238E27FC236}">
                <a16:creationId xmlns:a16="http://schemas.microsoft.com/office/drawing/2014/main" id="{B289D132-F934-A91C-A9FC-5BE55C65FD9D}"/>
              </a:ext>
            </a:extLst>
          </p:cNvPr>
          <p:cNvSpPr txBox="1"/>
          <p:nvPr/>
        </p:nvSpPr>
        <p:spPr>
          <a:xfrm>
            <a:off x="6014692" y="4398029"/>
            <a:ext cx="1329621"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buNone/>
            </a:pPr>
            <a:r>
              <a:rPr lang="en-US" sz="1100" dirty="0">
                <a:solidFill>
                  <a:srgbClr val="262626"/>
                </a:solidFill>
                <a:ea typeface="Calibri" panose="020F0502020204030204" pitchFamily="34" charset="0"/>
                <a:cs typeface="Mangal" panose="02040503050203030202" pitchFamily="18" charset="0"/>
              </a:rPr>
              <a:t>New </a:t>
            </a:r>
            <a:r>
              <a:rPr lang="en-US" sz="1100" b="1" dirty="0">
                <a:solidFill>
                  <a:srgbClr val="002060"/>
                </a:solidFill>
              </a:rPr>
              <a:t>procurement initiative</a:t>
            </a:r>
          </a:p>
        </p:txBody>
      </p:sp>
      <p:sp>
        <p:nvSpPr>
          <p:cNvPr id="62" name="Isosceles Triangle 133">
            <a:extLst>
              <a:ext uri="{FF2B5EF4-FFF2-40B4-BE49-F238E27FC236}">
                <a16:creationId xmlns:a16="http://schemas.microsoft.com/office/drawing/2014/main" id="{68408842-F5AC-9172-8775-A338EF3F3DBF}"/>
              </a:ext>
            </a:extLst>
          </p:cNvPr>
          <p:cNvSpPr>
            <a:spLocks/>
          </p:cNvSpPr>
          <p:nvPr/>
        </p:nvSpPr>
        <p:spPr>
          <a:xfrm flipV="1">
            <a:off x="5653258" y="4568999"/>
            <a:ext cx="182257" cy="140352"/>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3" name="ee4pContent1">
            <a:extLst>
              <a:ext uri="{FF2B5EF4-FFF2-40B4-BE49-F238E27FC236}">
                <a16:creationId xmlns:a16="http://schemas.microsoft.com/office/drawing/2014/main" id="{42B1C47C-9685-4A06-000D-E4999D5F0576}"/>
              </a:ext>
            </a:extLst>
          </p:cNvPr>
          <p:cNvSpPr txBox="1"/>
          <p:nvPr/>
        </p:nvSpPr>
        <p:spPr>
          <a:xfrm>
            <a:off x="5041616" y="4744155"/>
            <a:ext cx="1377912" cy="25369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kern="1200" dirty="0">
                <a:solidFill>
                  <a:srgbClr val="262626"/>
                </a:solidFill>
                <a:effectLst/>
                <a:ea typeface="Calibri" panose="020F0502020204030204" pitchFamily="34" charset="0"/>
                <a:cs typeface="Mangal" panose="02040503050203030202" pitchFamily="18" charset="0"/>
              </a:rPr>
              <a:t>Launch common</a:t>
            </a:r>
            <a:endParaRPr lang="en-US" sz="1100" dirty="0">
              <a:effectLst/>
              <a:ea typeface="Calibri" panose="020F0502020204030204" pitchFamily="34" charset="0"/>
              <a:cs typeface="Calibri" panose="020F0502020204030204" pitchFamily="34" charset="0"/>
            </a:endParaRPr>
          </a:p>
          <a:p>
            <a:pPr algn="ctr"/>
            <a:r>
              <a:rPr lang="en-US" sz="1100" b="1" kern="1200" dirty="0">
                <a:solidFill>
                  <a:srgbClr val="002060"/>
                </a:solidFill>
                <a:effectLst/>
              </a:rPr>
              <a:t>measurement platform</a:t>
            </a:r>
            <a:endParaRPr lang="en-US" sz="1100" dirty="0">
              <a:effectLst/>
              <a:ea typeface="Calibri" panose="020F0502020204030204" pitchFamily="34" charset="0"/>
              <a:cs typeface="Calibri" panose="020F0502020204030204" pitchFamily="34" charset="0"/>
            </a:endParaRPr>
          </a:p>
        </p:txBody>
      </p:sp>
      <p:sp>
        <p:nvSpPr>
          <p:cNvPr id="64" name="Isosceles Triangle 133">
            <a:extLst>
              <a:ext uri="{FF2B5EF4-FFF2-40B4-BE49-F238E27FC236}">
                <a16:creationId xmlns:a16="http://schemas.microsoft.com/office/drawing/2014/main" id="{4E1FB09F-CE00-F7DB-C647-0B07F7C20E4D}"/>
              </a:ext>
            </a:extLst>
          </p:cNvPr>
          <p:cNvSpPr>
            <a:spLocks/>
          </p:cNvSpPr>
          <p:nvPr/>
        </p:nvSpPr>
        <p:spPr>
          <a:xfrm flipV="1">
            <a:off x="3720540" y="4568996"/>
            <a:ext cx="182257" cy="140352"/>
          </a:xfrm>
          <a:prstGeom prst="triangle">
            <a:avLst/>
          </a:prstGeom>
          <a:solidFill>
            <a:srgbClr val="FF0000"/>
          </a:solidFill>
          <a:ln w="9525" cap="rnd" cmpd="sng" algn="ctr">
            <a:solidFill>
              <a:srgbClr val="FF0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6" name="ee4pContent1">
            <a:extLst>
              <a:ext uri="{FF2B5EF4-FFF2-40B4-BE49-F238E27FC236}">
                <a16:creationId xmlns:a16="http://schemas.microsoft.com/office/drawing/2014/main" id="{79368920-8BED-0443-386D-48F89D180150}"/>
              </a:ext>
            </a:extLst>
          </p:cNvPr>
          <p:cNvSpPr txBox="1"/>
          <p:nvPr/>
        </p:nvSpPr>
        <p:spPr>
          <a:xfrm>
            <a:off x="3282762" y="4764474"/>
            <a:ext cx="1057813"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buNone/>
              <a:defRPr/>
            </a:pPr>
            <a:r>
              <a:rPr lang="en-US" sz="1100" dirty="0">
                <a:solidFill>
                  <a:srgbClr val="262626"/>
                </a:solidFill>
                <a:cs typeface="Mangal" panose="02040503050203030202" pitchFamily="18" charset="0"/>
              </a:rPr>
              <a:t>Launch </a:t>
            </a:r>
            <a:r>
              <a:rPr lang="en-US" sz="1100" b="1" dirty="0">
                <a:solidFill>
                  <a:srgbClr val="2E3558"/>
                </a:solidFill>
                <a:cs typeface="Mangal" panose="02040503050203030202" pitchFamily="18" charset="0"/>
              </a:rPr>
              <a:t>PPH Framework</a:t>
            </a:r>
            <a:endParaRPr lang="en-US" sz="1100" b="1" dirty="0">
              <a:solidFill>
                <a:srgbClr val="2E3558"/>
              </a:solidFill>
            </a:endParaRPr>
          </a:p>
        </p:txBody>
      </p:sp>
      <p:cxnSp>
        <p:nvCxnSpPr>
          <p:cNvPr id="67" name="Connector: Curved 66">
            <a:extLst>
              <a:ext uri="{FF2B5EF4-FFF2-40B4-BE49-F238E27FC236}">
                <a16:creationId xmlns:a16="http://schemas.microsoft.com/office/drawing/2014/main" id="{04B27383-CDBC-BAC3-CB20-1F15CE876286}"/>
              </a:ext>
            </a:extLst>
          </p:cNvPr>
          <p:cNvCxnSpPr>
            <a:cxnSpLocks/>
          </p:cNvCxnSpPr>
          <p:nvPr/>
        </p:nvCxnSpPr>
        <p:spPr>
          <a:xfrm rot="16200000" flipH="1">
            <a:off x="3667800" y="4774497"/>
            <a:ext cx="837795" cy="330200"/>
          </a:xfrm>
          <a:prstGeom prst="curvedConnector3">
            <a:avLst>
              <a:gd name="adj1" fmla="val -4572"/>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C076D7B-C103-3DE9-361D-F7D4BD4B964F}"/>
              </a:ext>
            </a:extLst>
          </p:cNvPr>
          <p:cNvCxnSpPr>
            <a:cxnSpLocks/>
          </p:cNvCxnSpPr>
          <p:nvPr/>
        </p:nvCxnSpPr>
        <p:spPr>
          <a:xfrm flipH="1">
            <a:off x="5645974" y="2641145"/>
            <a:ext cx="4614560" cy="20106"/>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9" name="Connector: Curved 8">
            <a:extLst>
              <a:ext uri="{FF2B5EF4-FFF2-40B4-BE49-F238E27FC236}">
                <a16:creationId xmlns:a16="http://schemas.microsoft.com/office/drawing/2014/main" id="{FAB6C165-892F-552E-BE01-79513C5F383F}"/>
              </a:ext>
            </a:extLst>
          </p:cNvPr>
          <p:cNvCxnSpPr>
            <a:cxnSpLocks/>
          </p:cNvCxnSpPr>
          <p:nvPr/>
        </p:nvCxnSpPr>
        <p:spPr>
          <a:xfrm rot="16200000" flipH="1">
            <a:off x="4012791" y="2824301"/>
            <a:ext cx="1031042" cy="604461"/>
          </a:xfrm>
          <a:prstGeom prst="curvedConnector4">
            <a:avLst>
              <a:gd name="adj1" fmla="val -9709"/>
              <a:gd name="adj2" fmla="val 152114"/>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FCCAFB84-C864-AC3E-387E-B1FC4026EFA8}"/>
              </a:ext>
            </a:extLst>
          </p:cNvPr>
          <p:cNvSpPr/>
          <p:nvPr/>
        </p:nvSpPr>
        <p:spPr>
          <a:xfrm>
            <a:off x="457080" y="1482251"/>
            <a:ext cx="925939" cy="935514"/>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Research</a:t>
            </a:r>
          </a:p>
        </p:txBody>
      </p:sp>
      <p:sp>
        <p:nvSpPr>
          <p:cNvPr id="14" name="Rectangle 13">
            <a:extLst>
              <a:ext uri="{FF2B5EF4-FFF2-40B4-BE49-F238E27FC236}">
                <a16:creationId xmlns:a16="http://schemas.microsoft.com/office/drawing/2014/main" id="{623D0E6C-FE4E-9B28-22BC-E3FF45BF06CF}"/>
              </a:ext>
            </a:extLst>
          </p:cNvPr>
          <p:cNvSpPr/>
          <p:nvPr/>
        </p:nvSpPr>
        <p:spPr>
          <a:xfrm>
            <a:off x="457080" y="2486369"/>
            <a:ext cx="925939" cy="935514"/>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Norms &amp;</a:t>
            </a:r>
          </a:p>
          <a:p>
            <a:pPr algn="ctr"/>
            <a:r>
              <a:rPr lang="en-US" sz="990" dirty="0">
                <a:solidFill>
                  <a:srgbClr val="262626"/>
                </a:solidFill>
              </a:rPr>
              <a:t>Standards</a:t>
            </a:r>
          </a:p>
        </p:txBody>
      </p:sp>
      <p:sp>
        <p:nvSpPr>
          <p:cNvPr id="18" name="Rectangle 17">
            <a:extLst>
              <a:ext uri="{FF2B5EF4-FFF2-40B4-BE49-F238E27FC236}">
                <a16:creationId xmlns:a16="http://schemas.microsoft.com/office/drawing/2014/main" id="{E3CFA133-FFCC-BDB5-CC0D-BC279E779B92}"/>
              </a:ext>
            </a:extLst>
          </p:cNvPr>
          <p:cNvSpPr/>
          <p:nvPr/>
        </p:nvSpPr>
        <p:spPr>
          <a:xfrm>
            <a:off x="457080" y="3501268"/>
            <a:ext cx="925939" cy="1625768"/>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Implementation</a:t>
            </a:r>
          </a:p>
        </p:txBody>
      </p:sp>
      <p:sp>
        <p:nvSpPr>
          <p:cNvPr id="19" name="Rectangle 18">
            <a:extLst>
              <a:ext uri="{FF2B5EF4-FFF2-40B4-BE49-F238E27FC236}">
                <a16:creationId xmlns:a16="http://schemas.microsoft.com/office/drawing/2014/main" id="{36DBBA45-83F0-EF9B-3E02-BA7991C4ECDF}"/>
              </a:ext>
            </a:extLst>
          </p:cNvPr>
          <p:cNvSpPr/>
          <p:nvPr/>
        </p:nvSpPr>
        <p:spPr>
          <a:xfrm>
            <a:off x="457080" y="5232399"/>
            <a:ext cx="925939" cy="959717"/>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Advocacy</a:t>
            </a:r>
          </a:p>
        </p:txBody>
      </p:sp>
      <p:grpSp>
        <p:nvGrpSpPr>
          <p:cNvPr id="20" name="Group 19">
            <a:extLst>
              <a:ext uri="{FF2B5EF4-FFF2-40B4-BE49-F238E27FC236}">
                <a16:creationId xmlns:a16="http://schemas.microsoft.com/office/drawing/2014/main" id="{13DA422B-C652-84CE-AD5D-CC7DCDAFF76C}"/>
              </a:ext>
            </a:extLst>
          </p:cNvPr>
          <p:cNvGrpSpPr/>
          <p:nvPr/>
        </p:nvGrpSpPr>
        <p:grpSpPr>
          <a:xfrm>
            <a:off x="1430441" y="1477755"/>
            <a:ext cx="1213507" cy="4665628"/>
            <a:chOff x="1430441" y="1907719"/>
            <a:chExt cx="1213507" cy="3882847"/>
          </a:xfrm>
        </p:grpSpPr>
        <p:grpSp>
          <p:nvGrpSpPr>
            <p:cNvPr id="22" name="Group 21">
              <a:extLst>
                <a:ext uri="{FF2B5EF4-FFF2-40B4-BE49-F238E27FC236}">
                  <a16:creationId xmlns:a16="http://schemas.microsoft.com/office/drawing/2014/main" id="{78BA9886-0A16-AD36-5BEB-587E3755AF1B}"/>
                </a:ext>
              </a:extLst>
            </p:cNvPr>
            <p:cNvGrpSpPr/>
            <p:nvPr/>
          </p:nvGrpSpPr>
          <p:grpSpPr>
            <a:xfrm>
              <a:off x="1757448" y="1907719"/>
              <a:ext cx="232206" cy="3882847"/>
              <a:chOff x="1757448" y="1907719"/>
              <a:chExt cx="232206" cy="3882847"/>
            </a:xfrm>
          </p:grpSpPr>
          <p:sp>
            <p:nvSpPr>
              <p:cNvPr id="25" name="Rectangle 24">
                <a:extLst>
                  <a:ext uri="{FF2B5EF4-FFF2-40B4-BE49-F238E27FC236}">
                    <a16:creationId xmlns:a16="http://schemas.microsoft.com/office/drawing/2014/main" id="{7FB61F5E-1E26-4D1B-9844-7456E89C1A44}"/>
                  </a:ext>
                </a:extLst>
              </p:cNvPr>
              <p:cNvSpPr/>
              <p:nvPr/>
            </p:nvSpPr>
            <p:spPr>
              <a:xfrm>
                <a:off x="1757448" y="1907719"/>
                <a:ext cx="232206" cy="3882847"/>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26" name="Straight Connector 25">
                <a:extLst>
                  <a:ext uri="{FF2B5EF4-FFF2-40B4-BE49-F238E27FC236}">
                    <a16:creationId xmlns:a16="http://schemas.microsoft.com/office/drawing/2014/main" id="{B8F3FF7D-63F4-419D-1879-029908843268}"/>
                  </a:ext>
                </a:extLst>
              </p:cNvPr>
              <p:cNvCxnSpPr>
                <a:cxnSpLocks/>
                <a:stCxn id="25" idx="2"/>
              </p:cNvCxnSpPr>
              <p:nvPr/>
            </p:nvCxnSpPr>
            <p:spPr>
              <a:xfrm flipH="1" flipV="1">
                <a:off x="1859662" y="1952250"/>
                <a:ext cx="13889" cy="3838316"/>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43" name="Isosceles Triangle 42">
                <a:extLst>
                  <a:ext uri="{FF2B5EF4-FFF2-40B4-BE49-F238E27FC236}">
                    <a16:creationId xmlns:a16="http://schemas.microsoft.com/office/drawing/2014/main" id="{A1F3F918-6781-49C2-E433-7DE99AD47E19}"/>
                  </a:ext>
                </a:extLst>
              </p:cNvPr>
              <p:cNvSpPr>
                <a:spLocks/>
              </p:cNvSpPr>
              <p:nvPr/>
            </p:nvSpPr>
            <p:spPr>
              <a:xfrm flipV="1">
                <a:off x="1782422" y="3319937"/>
                <a:ext cx="182257" cy="140352"/>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381" tIns="64191" rIns="128381" bIns="641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ea typeface="+mn-ea"/>
                  <a:cs typeface="Calibri Light" panose="020F0302020204030204" pitchFamily="34" charset="0"/>
                  <a:sym typeface="Calibri Light" panose="020F0302020204030204" pitchFamily="34" charset="0"/>
                </a:endParaRPr>
              </a:p>
            </p:txBody>
          </p:sp>
        </p:grpSp>
        <p:sp>
          <p:nvSpPr>
            <p:cNvPr id="24" name="ee4pContent1">
              <a:extLst>
                <a:ext uri="{FF2B5EF4-FFF2-40B4-BE49-F238E27FC236}">
                  <a16:creationId xmlns:a16="http://schemas.microsoft.com/office/drawing/2014/main" id="{29828AD1-99AA-7629-E578-92ADB7DA872B}"/>
                </a:ext>
              </a:extLst>
            </p:cNvPr>
            <p:cNvSpPr txBox="1"/>
            <p:nvPr/>
          </p:nvSpPr>
          <p:spPr>
            <a:xfrm>
              <a:off x="1430441" y="3473783"/>
              <a:ext cx="1213507" cy="1015663"/>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r>
                <a:rPr lang="en-US" sz="1100" b="1" kern="1200" dirty="0">
                  <a:solidFill>
                    <a:srgbClr val="002060"/>
                  </a:solidFill>
                  <a:effectLst/>
                </a:rPr>
                <a:t>IMNHC</a:t>
              </a:r>
              <a:r>
                <a:rPr lang="en-US" sz="1100" kern="1200" dirty="0">
                  <a:solidFill>
                    <a:srgbClr val="262626"/>
                  </a:solidFill>
                  <a:effectLst/>
                </a:rPr>
                <a:t> – </a:t>
              </a:r>
              <a:r>
                <a:rPr lang="en-US" sz="1100" b="1" dirty="0">
                  <a:solidFill>
                    <a:srgbClr val="002060"/>
                  </a:solidFill>
                </a:rPr>
                <a:t>launch of the RoadMap</a:t>
              </a:r>
              <a:r>
                <a:rPr lang="en-US" sz="1100" kern="1200" dirty="0">
                  <a:solidFill>
                    <a:srgbClr val="262626"/>
                  </a:solidFill>
                  <a:effectLst/>
                </a:rPr>
                <a:t>, including research, normative, implementation, and advocacy agendas</a:t>
              </a:r>
              <a:endParaRPr lang="en-US" sz="1100" dirty="0">
                <a:effectLst/>
                <a:ea typeface="Calibri" panose="020F0502020204030204" pitchFamily="34" charset="0"/>
                <a:cs typeface="Calibri" panose="020F0502020204030204" pitchFamily="34" charset="0"/>
              </a:endParaRPr>
            </a:p>
          </p:txBody>
        </p:sp>
      </p:grpSp>
      <p:sp>
        <p:nvSpPr>
          <p:cNvPr id="45" name="Rectangle 44">
            <a:extLst>
              <a:ext uri="{FF2B5EF4-FFF2-40B4-BE49-F238E27FC236}">
                <a16:creationId xmlns:a16="http://schemas.microsoft.com/office/drawing/2014/main" id="{69E9FB0C-3D61-03A3-052C-97E036A152A6}"/>
              </a:ext>
            </a:extLst>
          </p:cNvPr>
          <p:cNvSpPr/>
          <p:nvPr/>
        </p:nvSpPr>
        <p:spPr>
          <a:xfrm>
            <a:off x="10365666" y="3489866"/>
            <a:ext cx="1540584" cy="1581934"/>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dirty="0">
                <a:solidFill>
                  <a:srgbClr val="262626"/>
                </a:solidFill>
              </a:rPr>
              <a:t>Priority implementation</a:t>
            </a:r>
            <a:br>
              <a:rPr lang="en-US" sz="1000" dirty="0">
                <a:solidFill>
                  <a:srgbClr val="262626"/>
                </a:solidFill>
              </a:rPr>
            </a:br>
            <a:r>
              <a:rPr lang="en-US" sz="1000" b="1" dirty="0">
                <a:solidFill>
                  <a:srgbClr val="0070C0"/>
                </a:solidFill>
              </a:rPr>
              <a:t>bottlenecks</a:t>
            </a:r>
            <a:r>
              <a:rPr lang="en-US" sz="1000" dirty="0">
                <a:solidFill>
                  <a:srgbClr val="262626"/>
                </a:solidFill>
              </a:rPr>
              <a:t> </a:t>
            </a:r>
            <a:r>
              <a:rPr lang="en-US" sz="1000" b="1" dirty="0">
                <a:solidFill>
                  <a:srgbClr val="0070C0"/>
                </a:solidFill>
              </a:rPr>
              <a:t>and</a:t>
            </a:r>
            <a:r>
              <a:rPr lang="en-US" sz="1000" dirty="0">
                <a:solidFill>
                  <a:srgbClr val="262626"/>
                </a:solidFill>
              </a:rPr>
              <a:t> </a:t>
            </a:r>
            <a:r>
              <a:rPr lang="en-US" sz="1000" b="1" dirty="0">
                <a:solidFill>
                  <a:srgbClr val="0070C0"/>
                </a:solidFill>
              </a:rPr>
              <a:t>hurdles</a:t>
            </a:r>
            <a:r>
              <a:rPr lang="en-US" sz="1000" dirty="0">
                <a:solidFill>
                  <a:srgbClr val="262626"/>
                </a:solidFill>
              </a:rPr>
              <a:t>, incl. context-specific ones, have been </a:t>
            </a:r>
            <a:r>
              <a:rPr lang="en-US" sz="1000" b="1" dirty="0">
                <a:solidFill>
                  <a:srgbClr val="0070C0"/>
                </a:solidFill>
              </a:rPr>
              <a:t>removed</a:t>
            </a:r>
          </a:p>
        </p:txBody>
      </p:sp>
      <p:sp>
        <p:nvSpPr>
          <p:cNvPr id="50" name="ee4pContent1">
            <a:extLst>
              <a:ext uri="{FF2B5EF4-FFF2-40B4-BE49-F238E27FC236}">
                <a16:creationId xmlns:a16="http://schemas.microsoft.com/office/drawing/2014/main" id="{92762BC5-63CD-7164-79B5-0371E0FC3C2B}"/>
              </a:ext>
            </a:extLst>
          </p:cNvPr>
          <p:cNvSpPr txBox="1"/>
          <p:nvPr/>
        </p:nvSpPr>
        <p:spPr>
          <a:xfrm>
            <a:off x="3915441" y="3640964"/>
            <a:ext cx="5852942" cy="20103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dirty="0">
                <a:solidFill>
                  <a:srgbClr val="002060"/>
                </a:solidFill>
              </a:rPr>
              <a:t>PPH guideline </a:t>
            </a:r>
            <a:r>
              <a:rPr lang="en-US" sz="1100" b="1" dirty="0">
                <a:solidFill>
                  <a:srgbClr val="002060"/>
                </a:solidFill>
              </a:rPr>
              <a:t>adaptation and adoption</a:t>
            </a:r>
            <a:r>
              <a:rPr lang="en-US" sz="1100" kern="1200" dirty="0">
                <a:solidFill>
                  <a:srgbClr val="262626"/>
                </a:solidFill>
                <a:effectLst/>
              </a:rPr>
              <a:t> to support dissemination and implementation in-country</a:t>
            </a:r>
            <a:endParaRPr lang="en-US" sz="1100" dirty="0">
              <a:solidFill>
                <a:srgbClr val="262626"/>
              </a:solidFill>
            </a:endParaRPr>
          </a:p>
        </p:txBody>
      </p:sp>
      <p:cxnSp>
        <p:nvCxnSpPr>
          <p:cNvPr id="68" name="Straight Connector 67">
            <a:extLst>
              <a:ext uri="{FF2B5EF4-FFF2-40B4-BE49-F238E27FC236}">
                <a16:creationId xmlns:a16="http://schemas.microsoft.com/office/drawing/2014/main" id="{C5865006-348C-CBA8-7A50-34BA29431D20}"/>
              </a:ext>
            </a:extLst>
          </p:cNvPr>
          <p:cNvCxnSpPr>
            <a:cxnSpLocks/>
          </p:cNvCxnSpPr>
          <p:nvPr/>
        </p:nvCxnSpPr>
        <p:spPr>
          <a:xfrm flipH="1">
            <a:off x="2862286" y="3605624"/>
            <a:ext cx="7387277" cy="22464"/>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69" name="Connector: Curved 68">
            <a:extLst>
              <a:ext uri="{FF2B5EF4-FFF2-40B4-BE49-F238E27FC236}">
                <a16:creationId xmlns:a16="http://schemas.microsoft.com/office/drawing/2014/main" id="{A736B6E0-7207-BE9B-1C59-6256AE6469EF}"/>
              </a:ext>
            </a:extLst>
          </p:cNvPr>
          <p:cNvCxnSpPr>
            <a:cxnSpLocks/>
          </p:cNvCxnSpPr>
          <p:nvPr/>
        </p:nvCxnSpPr>
        <p:spPr>
          <a:xfrm rot="16200000" flipH="1">
            <a:off x="5823258" y="4565108"/>
            <a:ext cx="774274" cy="745180"/>
          </a:xfrm>
          <a:prstGeom prst="curvedConnector3">
            <a:avLst>
              <a:gd name="adj1" fmla="val 14571"/>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Text Box 1595">
            <a:extLst>
              <a:ext uri="{FF2B5EF4-FFF2-40B4-BE49-F238E27FC236}">
                <a16:creationId xmlns:a16="http://schemas.microsoft.com/office/drawing/2014/main" id="{99634B12-22DA-54AC-E7E8-5B6DD5157421}"/>
              </a:ext>
            </a:extLst>
          </p:cNvPr>
          <p:cNvSpPr txBox="1"/>
          <p:nvPr/>
        </p:nvSpPr>
        <p:spPr>
          <a:xfrm>
            <a:off x="2862286" y="4036119"/>
            <a:ext cx="7387277" cy="15234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wrap="square" lIns="0" tIns="0" rIns="0" bIns="0" anchor="ctr">
            <a:spAutoFit/>
          </a:bodyPr>
          <a:lstStyle/>
          <a:p>
            <a:pPr algn="ctr">
              <a:lnSpc>
                <a:spcPct val="90000"/>
              </a:lnSpc>
            </a:pPr>
            <a:r>
              <a:rPr lang="en-US" sz="1100" dirty="0">
                <a:solidFill>
                  <a:srgbClr val="262626"/>
                </a:solidFill>
              </a:rPr>
              <a:t>Support authorization of full scope of practice for </a:t>
            </a:r>
            <a:r>
              <a:rPr lang="en-US" sz="1100" b="1" dirty="0">
                <a:solidFill>
                  <a:srgbClr val="002060"/>
                </a:solidFill>
              </a:rPr>
              <a:t>midwifery and other cadres; capacity building, professional development</a:t>
            </a:r>
          </a:p>
        </p:txBody>
      </p:sp>
      <p:cxnSp>
        <p:nvCxnSpPr>
          <p:cNvPr id="73" name="Straight Connector 72">
            <a:extLst>
              <a:ext uri="{FF2B5EF4-FFF2-40B4-BE49-F238E27FC236}">
                <a16:creationId xmlns:a16="http://schemas.microsoft.com/office/drawing/2014/main" id="{895855C8-025B-C6DF-682E-60FD7F38531E}"/>
              </a:ext>
            </a:extLst>
          </p:cNvPr>
          <p:cNvCxnSpPr>
            <a:cxnSpLocks/>
          </p:cNvCxnSpPr>
          <p:nvPr/>
        </p:nvCxnSpPr>
        <p:spPr>
          <a:xfrm flipH="1">
            <a:off x="2862286" y="3967271"/>
            <a:ext cx="7387277" cy="11989"/>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78" name="Connector: Curved 77">
            <a:extLst>
              <a:ext uri="{FF2B5EF4-FFF2-40B4-BE49-F238E27FC236}">
                <a16:creationId xmlns:a16="http://schemas.microsoft.com/office/drawing/2014/main" id="{434BC392-D6A1-2F68-617B-B9C09188A578}"/>
              </a:ext>
            </a:extLst>
          </p:cNvPr>
          <p:cNvCxnSpPr/>
          <p:nvPr/>
        </p:nvCxnSpPr>
        <p:spPr>
          <a:xfrm rot="5400000" flipH="1" flipV="1">
            <a:off x="4803900" y="2011093"/>
            <a:ext cx="12700" cy="1184333"/>
          </a:xfrm>
          <a:prstGeom prst="curvedConnector3">
            <a:avLst>
              <a:gd name="adj1" fmla="val 1800000"/>
            </a:avLst>
          </a:prstGeom>
          <a:ln w="9525" cap="rnd">
            <a:solidFill>
              <a:srgbClr val="006037"/>
            </a:solidFill>
            <a:prstDash val="sysDash"/>
            <a:round/>
            <a:tailEnd type="triangl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6FF99987-B476-9E55-5A09-F462A27D8EBF}"/>
              </a:ext>
            </a:extLst>
          </p:cNvPr>
          <p:cNvSpPr/>
          <p:nvPr/>
        </p:nvSpPr>
        <p:spPr>
          <a:xfrm>
            <a:off x="213360" y="1486533"/>
            <a:ext cx="152590" cy="4705584"/>
          </a:xfrm>
          <a:prstGeom prst="rect">
            <a:avLst/>
          </a:prstGeom>
          <a:solidFill>
            <a:srgbClr val="CAE5E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100" dirty="0">
                <a:solidFill>
                  <a:srgbClr val="0070C0"/>
                </a:solidFill>
              </a:rPr>
              <a:t>Strategic areas</a:t>
            </a:r>
          </a:p>
        </p:txBody>
      </p:sp>
    </p:spTree>
    <p:extLst>
      <p:ext uri="{BB962C8B-B14F-4D97-AF65-F5344CB8AC3E}">
        <p14:creationId xmlns:p14="http://schemas.microsoft.com/office/powerpoint/2010/main" val="3562459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997DA39D-C5BD-3569-384A-38E87337E500}"/>
              </a:ext>
            </a:extLst>
          </p:cNvPr>
          <p:cNvSpPr/>
          <p:nvPr/>
        </p:nvSpPr>
        <p:spPr>
          <a:xfrm flipV="1">
            <a:off x="0" y="3142640"/>
            <a:ext cx="12192000" cy="371535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8" name="Arrow: Pentagon 7">
            <a:extLst>
              <a:ext uri="{FF2B5EF4-FFF2-40B4-BE49-F238E27FC236}">
                <a16:creationId xmlns:a16="http://schemas.microsoft.com/office/drawing/2014/main" id="{37C39B7B-72EE-8B26-1910-D4DB673394E5}"/>
              </a:ext>
            </a:extLst>
          </p:cNvPr>
          <p:cNvSpPr/>
          <p:nvPr/>
        </p:nvSpPr>
        <p:spPr>
          <a:xfrm>
            <a:off x="161143" y="2897077"/>
            <a:ext cx="1290664" cy="488950"/>
          </a:xfrm>
          <a:prstGeom prst="homePlate">
            <a:avLst>
              <a:gd name="adj" fmla="val 22233"/>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4572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AR" sz="1200" b="0" i="0" u="none" strike="noStrike" kern="1200" cap="none" spc="0" normalizeH="0" baseline="0" noProof="0" dirty="0">
              <a:ln>
                <a:noFill/>
              </a:ln>
              <a:solidFill>
                <a:srgbClr val="00205C"/>
              </a:solidFill>
              <a:effectLst/>
              <a:uLnTx/>
              <a:uFillTx/>
              <a:latin typeface="Source Sans Pro"/>
              <a:ea typeface="+mn-ea"/>
              <a:cs typeface="+mn-cs"/>
            </a:endParaRPr>
          </a:p>
        </p:txBody>
      </p:sp>
      <p:sp>
        <p:nvSpPr>
          <p:cNvPr id="10" name="Arrow: Chevron 9">
            <a:extLst>
              <a:ext uri="{FF2B5EF4-FFF2-40B4-BE49-F238E27FC236}">
                <a16:creationId xmlns:a16="http://schemas.microsoft.com/office/drawing/2014/main" id="{D7A6051C-E8F7-63D7-89ED-E0506B78FA69}"/>
              </a:ext>
            </a:extLst>
          </p:cNvPr>
          <p:cNvSpPr/>
          <p:nvPr/>
        </p:nvSpPr>
        <p:spPr>
          <a:xfrm>
            <a:off x="3287776" y="2897077"/>
            <a:ext cx="972379" cy="488950"/>
          </a:xfrm>
          <a:prstGeom prst="chevron">
            <a:avLst>
              <a:gd name="adj" fmla="val 24672"/>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prstClr val="white"/>
                </a:solidFill>
                <a:effectLst/>
                <a:uLnTx/>
                <a:uFillTx/>
                <a:latin typeface="Source Sans Pro"/>
                <a:ea typeface="+mn-ea"/>
                <a:cs typeface="+mn-cs"/>
              </a:rPr>
              <a:t>Q4 2023</a:t>
            </a:r>
          </a:p>
        </p:txBody>
      </p:sp>
      <p:sp>
        <p:nvSpPr>
          <p:cNvPr id="15" name="Arrow: Chevron 14">
            <a:extLst>
              <a:ext uri="{FF2B5EF4-FFF2-40B4-BE49-F238E27FC236}">
                <a16:creationId xmlns:a16="http://schemas.microsoft.com/office/drawing/2014/main" id="{D3C15132-ADA1-718A-671D-325772282025}"/>
              </a:ext>
            </a:extLst>
          </p:cNvPr>
          <p:cNvSpPr/>
          <p:nvPr/>
        </p:nvSpPr>
        <p:spPr>
          <a:xfrm>
            <a:off x="8904474" y="2897077"/>
            <a:ext cx="972379" cy="488950"/>
          </a:xfrm>
          <a:prstGeom prst="chevron">
            <a:avLst>
              <a:gd name="adj" fmla="val 24672"/>
            </a:avLst>
          </a:prstGeom>
          <a:solidFill>
            <a:schemeClr val="bg1"/>
          </a:solidFill>
          <a:ln>
            <a:solidFill>
              <a:schemeClr val="accent6">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205C"/>
                </a:solidFill>
                <a:effectLst/>
                <a:uLnTx/>
                <a:uFillTx/>
                <a:latin typeface="Source Sans Pro"/>
                <a:ea typeface="+mn-ea"/>
                <a:cs typeface="+mn-cs"/>
              </a:rPr>
              <a:t>2028</a:t>
            </a:r>
          </a:p>
        </p:txBody>
      </p:sp>
      <p:sp>
        <p:nvSpPr>
          <p:cNvPr id="138" name="Arrow: Pentagon 137">
            <a:extLst>
              <a:ext uri="{FF2B5EF4-FFF2-40B4-BE49-F238E27FC236}">
                <a16:creationId xmlns:a16="http://schemas.microsoft.com/office/drawing/2014/main" id="{3A66C3D8-C0EF-1D03-5602-3F9F5A113ABA}"/>
              </a:ext>
            </a:extLst>
          </p:cNvPr>
          <p:cNvSpPr/>
          <p:nvPr/>
        </p:nvSpPr>
        <p:spPr>
          <a:xfrm>
            <a:off x="6093918" y="6043963"/>
            <a:ext cx="5665400" cy="370389"/>
          </a:xfrm>
          <a:prstGeom prst="homePlate">
            <a:avLst/>
          </a:prstGeom>
          <a:solidFill>
            <a:schemeClr val="accent6"/>
          </a:solidFill>
          <a:ln w="6350" cap="rnd">
            <a:solidFill>
              <a:schemeClr val="accent6"/>
            </a:solidFill>
            <a:prstDash val="solid"/>
            <a:round/>
          </a:ln>
        </p:spPr>
        <p:txBody>
          <a:bodyPr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ource Sans Pro"/>
                <a:ea typeface="+mn-ea"/>
                <a:cs typeface="+mn-cs"/>
              </a:rPr>
              <a:t>PUBLICATION AND UPDATING OF CONSOLIDATED GUIDELINES AND DERIVATIVE TOOLS</a:t>
            </a:r>
          </a:p>
        </p:txBody>
      </p:sp>
      <p:sp>
        <p:nvSpPr>
          <p:cNvPr id="140" name="Rectangle 139">
            <a:extLst>
              <a:ext uri="{FF2B5EF4-FFF2-40B4-BE49-F238E27FC236}">
                <a16:creationId xmlns:a16="http://schemas.microsoft.com/office/drawing/2014/main" id="{6CA9E18D-1786-6C8A-4A95-CC66B83500B9}"/>
              </a:ext>
            </a:extLst>
          </p:cNvPr>
          <p:cNvSpPr/>
          <p:nvPr/>
        </p:nvSpPr>
        <p:spPr>
          <a:xfrm>
            <a:off x="514076" y="4265271"/>
            <a:ext cx="1954512" cy="1996681"/>
          </a:xfrm>
          <a:prstGeom prst="rect">
            <a:avLst/>
          </a:prstGeom>
          <a:solidFill>
            <a:schemeClr val="bg1"/>
          </a:solidFill>
          <a:ln w="3175">
            <a:solidFill>
              <a:schemeClr val="tx2">
                <a:alpha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41" name="TextBox 140">
            <a:extLst>
              <a:ext uri="{FF2B5EF4-FFF2-40B4-BE49-F238E27FC236}">
                <a16:creationId xmlns:a16="http://schemas.microsoft.com/office/drawing/2014/main" id="{F0D69AE4-DE49-E954-7A7E-DDB883B63D10}"/>
              </a:ext>
            </a:extLst>
          </p:cNvPr>
          <p:cNvSpPr txBox="1"/>
          <p:nvPr/>
        </p:nvSpPr>
        <p:spPr>
          <a:xfrm>
            <a:off x="662520" y="4436358"/>
            <a:ext cx="1588328" cy="323486"/>
          </a:xfrm>
          <a:prstGeom prst="rect">
            <a:avLst/>
          </a:prstGeom>
          <a:solidFill>
            <a:srgbClr val="E5EEFB"/>
          </a:solidFill>
        </p:spPr>
        <p:txBody>
          <a:bodyPr wrap="square" lIns="0" tIns="0" rIns="0" bIns="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205C"/>
                </a:solidFill>
                <a:effectLst/>
                <a:uLnTx/>
                <a:uFillTx/>
                <a:latin typeface="Source Sans Pro"/>
                <a:ea typeface="+mn-ea"/>
                <a:cs typeface="+mn-cs"/>
              </a:rPr>
              <a:t>LEGEND</a:t>
            </a:r>
          </a:p>
        </p:txBody>
      </p:sp>
      <p:grpSp>
        <p:nvGrpSpPr>
          <p:cNvPr id="167" name="Group 166">
            <a:extLst>
              <a:ext uri="{FF2B5EF4-FFF2-40B4-BE49-F238E27FC236}">
                <a16:creationId xmlns:a16="http://schemas.microsoft.com/office/drawing/2014/main" id="{44DEC513-1D61-E7D2-3DAD-FD4799929132}"/>
              </a:ext>
            </a:extLst>
          </p:cNvPr>
          <p:cNvGrpSpPr/>
          <p:nvPr/>
        </p:nvGrpSpPr>
        <p:grpSpPr>
          <a:xfrm>
            <a:off x="791810" y="4947641"/>
            <a:ext cx="1329749" cy="1031982"/>
            <a:chOff x="779146" y="5301039"/>
            <a:chExt cx="1329749" cy="1031982"/>
          </a:xfrm>
        </p:grpSpPr>
        <p:sp>
          <p:nvSpPr>
            <p:cNvPr id="148" name="TextBox 147">
              <a:extLst>
                <a:ext uri="{FF2B5EF4-FFF2-40B4-BE49-F238E27FC236}">
                  <a16:creationId xmlns:a16="http://schemas.microsoft.com/office/drawing/2014/main" id="{4B411539-AE05-304A-EB15-78510715D9DA}"/>
                </a:ext>
              </a:extLst>
            </p:cNvPr>
            <p:cNvSpPr txBox="1"/>
            <p:nvPr/>
          </p:nvSpPr>
          <p:spPr>
            <a:xfrm>
              <a:off x="1052255" y="5301039"/>
              <a:ext cx="619048"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ource Sans Pro"/>
                  <a:ea typeface="+mn-ea"/>
                  <a:cs typeface="+mn-cs"/>
                </a:rPr>
                <a:t>Research</a:t>
              </a:r>
            </a:p>
          </p:txBody>
        </p:sp>
        <p:sp>
          <p:nvSpPr>
            <p:cNvPr id="150" name="Rectangle 149">
              <a:extLst>
                <a:ext uri="{FF2B5EF4-FFF2-40B4-BE49-F238E27FC236}">
                  <a16:creationId xmlns:a16="http://schemas.microsoft.com/office/drawing/2014/main" id="{7BB2437C-5220-798A-6C4A-51D6C289C89C}"/>
                </a:ext>
              </a:extLst>
            </p:cNvPr>
            <p:cNvSpPr/>
            <p:nvPr/>
          </p:nvSpPr>
          <p:spPr>
            <a:xfrm>
              <a:off x="779146" y="5362818"/>
              <a:ext cx="190016" cy="45719"/>
            </a:xfrm>
            <a:prstGeom prst="rect">
              <a:avLst/>
            </a:prstGeom>
            <a:solidFill>
              <a:schemeClr val="accent3"/>
            </a:solidFill>
            <a:ln w="6350"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ource Sans Pro"/>
                <a:ea typeface="+mn-ea"/>
                <a:cs typeface="+mn-cs"/>
              </a:endParaRPr>
            </a:p>
          </p:txBody>
        </p:sp>
        <p:sp>
          <p:nvSpPr>
            <p:cNvPr id="153" name="TextBox 152">
              <a:extLst>
                <a:ext uri="{FF2B5EF4-FFF2-40B4-BE49-F238E27FC236}">
                  <a16:creationId xmlns:a16="http://schemas.microsoft.com/office/drawing/2014/main" id="{38AA36AF-5EB5-06BB-35B4-DFA8F9C22285}"/>
                </a:ext>
              </a:extLst>
            </p:cNvPr>
            <p:cNvSpPr txBox="1"/>
            <p:nvPr/>
          </p:nvSpPr>
          <p:spPr>
            <a:xfrm>
              <a:off x="1052255" y="5588607"/>
              <a:ext cx="70526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ource Sans Pro"/>
                  <a:ea typeface="+mn-ea"/>
                  <a:cs typeface="+mn-cs"/>
                </a:rPr>
                <a:t>Norms</a:t>
              </a:r>
            </a:p>
          </p:txBody>
        </p:sp>
        <p:sp>
          <p:nvSpPr>
            <p:cNvPr id="155" name="Rectangle 154">
              <a:extLst>
                <a:ext uri="{FF2B5EF4-FFF2-40B4-BE49-F238E27FC236}">
                  <a16:creationId xmlns:a16="http://schemas.microsoft.com/office/drawing/2014/main" id="{4A64AC8B-2711-4623-8224-82F5B7CD473A}"/>
                </a:ext>
              </a:extLst>
            </p:cNvPr>
            <p:cNvSpPr/>
            <p:nvPr/>
          </p:nvSpPr>
          <p:spPr>
            <a:xfrm>
              <a:off x="779146" y="5650386"/>
              <a:ext cx="190016" cy="45719"/>
            </a:xfrm>
            <a:prstGeom prst="rect">
              <a:avLst/>
            </a:prstGeom>
            <a:solidFill>
              <a:schemeClr val="accent6"/>
            </a:solidFill>
            <a:ln w="6350"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ource Sans Pro"/>
                <a:ea typeface="+mn-ea"/>
                <a:cs typeface="+mn-cs"/>
              </a:endParaRPr>
            </a:p>
          </p:txBody>
        </p:sp>
        <p:sp>
          <p:nvSpPr>
            <p:cNvPr id="158" name="TextBox 157">
              <a:extLst>
                <a:ext uri="{FF2B5EF4-FFF2-40B4-BE49-F238E27FC236}">
                  <a16:creationId xmlns:a16="http://schemas.microsoft.com/office/drawing/2014/main" id="{AC8CE781-DA47-4786-9C25-B581DEA9F897}"/>
                </a:ext>
              </a:extLst>
            </p:cNvPr>
            <p:cNvSpPr txBox="1"/>
            <p:nvPr/>
          </p:nvSpPr>
          <p:spPr>
            <a:xfrm>
              <a:off x="1052255" y="5876175"/>
              <a:ext cx="1056640"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ource Sans Pro"/>
                  <a:ea typeface="+mn-ea"/>
                  <a:cs typeface="+mn-cs"/>
                </a:rPr>
                <a:t>Implementation</a:t>
              </a:r>
            </a:p>
          </p:txBody>
        </p:sp>
        <p:sp>
          <p:nvSpPr>
            <p:cNvPr id="160" name="Rectangle 159">
              <a:extLst>
                <a:ext uri="{FF2B5EF4-FFF2-40B4-BE49-F238E27FC236}">
                  <a16:creationId xmlns:a16="http://schemas.microsoft.com/office/drawing/2014/main" id="{20172B20-CBE6-EA29-151E-704BC1FAEAA6}"/>
                </a:ext>
              </a:extLst>
            </p:cNvPr>
            <p:cNvSpPr/>
            <p:nvPr/>
          </p:nvSpPr>
          <p:spPr>
            <a:xfrm>
              <a:off x="779146" y="5937954"/>
              <a:ext cx="190016" cy="45719"/>
            </a:xfrm>
            <a:prstGeom prst="rect">
              <a:avLst/>
            </a:prstGeom>
            <a:solidFill>
              <a:schemeClr val="accent4"/>
            </a:solidFill>
            <a:ln w="9525"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ource Sans Pro"/>
                <a:ea typeface="+mn-ea"/>
                <a:cs typeface="+mn-cs"/>
              </a:endParaRPr>
            </a:p>
          </p:txBody>
        </p:sp>
        <p:sp>
          <p:nvSpPr>
            <p:cNvPr id="163" name="TextBox 162">
              <a:extLst>
                <a:ext uri="{FF2B5EF4-FFF2-40B4-BE49-F238E27FC236}">
                  <a16:creationId xmlns:a16="http://schemas.microsoft.com/office/drawing/2014/main" id="{C4942F0B-F9E4-8F7C-CFD6-121C7B9566B4}"/>
                </a:ext>
              </a:extLst>
            </p:cNvPr>
            <p:cNvSpPr txBox="1"/>
            <p:nvPr/>
          </p:nvSpPr>
          <p:spPr>
            <a:xfrm>
              <a:off x="1052255" y="6163744"/>
              <a:ext cx="637540"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Source Sans Pro"/>
                  <a:ea typeface="+mn-ea"/>
                  <a:cs typeface="+mn-cs"/>
                </a:rPr>
                <a:t>Advocacy</a:t>
              </a:r>
            </a:p>
          </p:txBody>
        </p:sp>
        <p:sp>
          <p:nvSpPr>
            <p:cNvPr id="165" name="Rectangle 164">
              <a:extLst>
                <a:ext uri="{FF2B5EF4-FFF2-40B4-BE49-F238E27FC236}">
                  <a16:creationId xmlns:a16="http://schemas.microsoft.com/office/drawing/2014/main" id="{A7F1EE39-C198-E4F7-4D58-F4A694CAC814}"/>
                </a:ext>
              </a:extLst>
            </p:cNvPr>
            <p:cNvSpPr/>
            <p:nvPr/>
          </p:nvSpPr>
          <p:spPr>
            <a:xfrm>
              <a:off x="779146" y="6225523"/>
              <a:ext cx="190016" cy="45719"/>
            </a:xfrm>
            <a:prstGeom prst="rect">
              <a:avLst/>
            </a:prstGeom>
            <a:solidFill>
              <a:schemeClr val="accent5"/>
            </a:solidFill>
            <a:ln w="6350"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Source Sans Pro"/>
                <a:ea typeface="+mn-ea"/>
                <a:cs typeface="+mn-cs"/>
              </a:endParaRPr>
            </a:p>
          </p:txBody>
        </p:sp>
      </p:grpSp>
      <p:sp>
        <p:nvSpPr>
          <p:cNvPr id="172" name="Rectangle 171">
            <a:extLst>
              <a:ext uri="{FF2B5EF4-FFF2-40B4-BE49-F238E27FC236}">
                <a16:creationId xmlns:a16="http://schemas.microsoft.com/office/drawing/2014/main" id="{38396F2E-F1E3-46BA-F37C-18F047A94E92}"/>
              </a:ext>
            </a:extLst>
          </p:cNvPr>
          <p:cNvSpPr/>
          <p:nvPr/>
        </p:nvSpPr>
        <p:spPr>
          <a:xfrm>
            <a:off x="0" y="2881364"/>
            <a:ext cx="156811" cy="5127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05C"/>
              </a:solidFill>
              <a:effectLst/>
              <a:uLnTx/>
              <a:uFillTx/>
              <a:latin typeface="Source Sans Pro"/>
              <a:ea typeface="+mn-ea"/>
              <a:cs typeface="+mn-cs"/>
            </a:endParaRPr>
          </a:p>
        </p:txBody>
      </p:sp>
      <p:grpSp>
        <p:nvGrpSpPr>
          <p:cNvPr id="47" name="Group 46">
            <a:extLst>
              <a:ext uri="{FF2B5EF4-FFF2-40B4-BE49-F238E27FC236}">
                <a16:creationId xmlns:a16="http://schemas.microsoft.com/office/drawing/2014/main" id="{43916352-8119-F45A-23C0-0E300C7CEEC0}"/>
              </a:ext>
            </a:extLst>
          </p:cNvPr>
          <p:cNvGrpSpPr/>
          <p:nvPr/>
        </p:nvGrpSpPr>
        <p:grpSpPr>
          <a:xfrm>
            <a:off x="6998316" y="390536"/>
            <a:ext cx="1482448" cy="4169595"/>
            <a:chOff x="6998316" y="390536"/>
            <a:chExt cx="1482448" cy="4169595"/>
          </a:xfrm>
        </p:grpSpPr>
        <p:sp>
          <p:nvSpPr>
            <p:cNvPr id="103" name="Diamond 102">
              <a:extLst>
                <a:ext uri="{FF2B5EF4-FFF2-40B4-BE49-F238E27FC236}">
                  <a16:creationId xmlns:a16="http://schemas.microsoft.com/office/drawing/2014/main" id="{4E0CBD05-3170-3166-AD59-73A925E1A4AE}"/>
                </a:ext>
              </a:extLst>
            </p:cNvPr>
            <p:cNvSpPr/>
            <p:nvPr/>
          </p:nvSpPr>
          <p:spPr>
            <a:xfrm>
              <a:off x="6998316" y="390536"/>
              <a:ext cx="60706" cy="60706"/>
            </a:xfrm>
            <a:prstGeom prst="diamond">
              <a:avLst/>
            </a:prstGeom>
            <a:solidFill>
              <a:srgbClr val="8DBB00"/>
            </a:solidFill>
            <a:ln w="6350" cap="rnd">
              <a:solidFill>
                <a:srgbClr val="8DBB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Source Sans Pro"/>
                <a:ea typeface="+mn-ea"/>
                <a:cs typeface="+mn-cs"/>
              </a:endParaRPr>
            </a:p>
          </p:txBody>
        </p:sp>
        <p:grpSp>
          <p:nvGrpSpPr>
            <p:cNvPr id="36" name="Group 35">
              <a:extLst>
                <a:ext uri="{FF2B5EF4-FFF2-40B4-BE49-F238E27FC236}">
                  <a16:creationId xmlns:a16="http://schemas.microsoft.com/office/drawing/2014/main" id="{27053A49-2AFA-DF69-7B58-DF45CC084F08}"/>
                </a:ext>
              </a:extLst>
            </p:cNvPr>
            <p:cNvGrpSpPr/>
            <p:nvPr/>
          </p:nvGrpSpPr>
          <p:grpSpPr>
            <a:xfrm>
              <a:off x="7032241" y="436452"/>
              <a:ext cx="1448523" cy="4094908"/>
              <a:chOff x="7032241" y="436452"/>
              <a:chExt cx="1448523" cy="4094908"/>
            </a:xfrm>
          </p:grpSpPr>
          <p:grpSp>
            <p:nvGrpSpPr>
              <p:cNvPr id="33" name="Group 32">
                <a:extLst>
                  <a:ext uri="{FF2B5EF4-FFF2-40B4-BE49-F238E27FC236}">
                    <a16:creationId xmlns:a16="http://schemas.microsoft.com/office/drawing/2014/main" id="{9BBA0C92-3916-5DC4-C55F-119C76125D74}"/>
                  </a:ext>
                </a:extLst>
              </p:cNvPr>
              <p:cNvGrpSpPr/>
              <p:nvPr/>
            </p:nvGrpSpPr>
            <p:grpSpPr>
              <a:xfrm>
                <a:off x="7033161" y="436452"/>
                <a:ext cx="1447603" cy="2460331"/>
                <a:chOff x="7033161" y="436452"/>
                <a:chExt cx="1447603" cy="2460331"/>
              </a:xfrm>
            </p:grpSpPr>
            <p:sp>
              <p:nvSpPr>
                <p:cNvPr id="92" name="Rectangle 91">
                  <a:extLst>
                    <a:ext uri="{FF2B5EF4-FFF2-40B4-BE49-F238E27FC236}">
                      <a16:creationId xmlns:a16="http://schemas.microsoft.com/office/drawing/2014/main" id="{306B30C4-BE9E-9E40-AFB1-04D6201F5FC7}"/>
                    </a:ext>
                  </a:extLst>
                </p:cNvPr>
                <p:cNvSpPr/>
                <p:nvPr/>
              </p:nvSpPr>
              <p:spPr>
                <a:xfrm>
                  <a:off x="7039292" y="438042"/>
                  <a:ext cx="1441472" cy="6886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93" name="TextBox 92">
                  <a:extLst>
                    <a:ext uri="{FF2B5EF4-FFF2-40B4-BE49-F238E27FC236}">
                      <a16:creationId xmlns:a16="http://schemas.microsoft.com/office/drawing/2014/main" id="{3005F546-92F6-92AF-F125-ADDC292774A7}"/>
                    </a:ext>
                  </a:extLst>
                </p:cNvPr>
                <p:cNvSpPr txBox="1"/>
                <p:nvPr/>
              </p:nvSpPr>
              <p:spPr>
                <a:xfrm>
                  <a:off x="7128868" y="539985"/>
                  <a:ext cx="1245161" cy="48474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Regional and </a:t>
                  </a:r>
                  <a:br>
                    <a:rPr kumimoji="0" lang="en-US" sz="1050" b="0" i="0" u="none" strike="noStrike" kern="1200" cap="none" spc="0" normalizeH="0" baseline="0" noProof="0" dirty="0">
                      <a:ln>
                        <a:noFill/>
                      </a:ln>
                      <a:solidFill>
                        <a:prstClr val="black"/>
                      </a:solidFill>
                      <a:effectLst/>
                      <a:uLnTx/>
                      <a:uFillTx/>
                      <a:latin typeface="Source Sans Pro"/>
                      <a:ea typeface="+mn-ea"/>
                      <a:cs typeface="+mn-cs"/>
                    </a:rPr>
                  </a:br>
                  <a:r>
                    <a:rPr kumimoji="0" lang="en-US" sz="1050" b="0" i="0" u="none" strike="noStrike" kern="1200" cap="none" spc="0" normalizeH="0" baseline="0" noProof="0" dirty="0">
                      <a:ln>
                        <a:noFill/>
                      </a:ln>
                      <a:solidFill>
                        <a:prstClr val="black"/>
                      </a:solidFill>
                      <a:effectLst/>
                      <a:uLnTx/>
                      <a:uFillTx/>
                      <a:latin typeface="Source Sans Pro"/>
                      <a:ea typeface="+mn-ea"/>
                      <a:cs typeface="+mn-cs"/>
                    </a:rPr>
                    <a:t>local advocacy frameworks</a:t>
                  </a:r>
                </a:p>
              </p:txBody>
            </p:sp>
            <p:cxnSp>
              <p:nvCxnSpPr>
                <p:cNvPr id="94" name="Straight Connector 93">
                  <a:extLst>
                    <a:ext uri="{FF2B5EF4-FFF2-40B4-BE49-F238E27FC236}">
                      <a16:creationId xmlns:a16="http://schemas.microsoft.com/office/drawing/2014/main" id="{1BA092BA-E187-6843-400A-81219C1219D1}"/>
                    </a:ext>
                  </a:extLst>
                </p:cNvPr>
                <p:cNvCxnSpPr>
                  <a:cxnSpLocks/>
                </p:cNvCxnSpPr>
                <p:nvPr/>
              </p:nvCxnSpPr>
              <p:spPr>
                <a:xfrm>
                  <a:off x="7033161" y="436452"/>
                  <a:ext cx="0" cy="2460331"/>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3" name="Arrow: Chevron 12">
                <a:extLst>
                  <a:ext uri="{FF2B5EF4-FFF2-40B4-BE49-F238E27FC236}">
                    <a16:creationId xmlns:a16="http://schemas.microsoft.com/office/drawing/2014/main" id="{F482A5E5-F95F-8FBB-E480-7A39517B05B2}"/>
                  </a:ext>
                </a:extLst>
              </p:cNvPr>
              <p:cNvSpPr/>
              <p:nvPr/>
            </p:nvSpPr>
            <p:spPr>
              <a:xfrm>
                <a:off x="7032241" y="2897077"/>
                <a:ext cx="972379" cy="488950"/>
              </a:xfrm>
              <a:prstGeom prst="chevron">
                <a:avLst>
                  <a:gd name="adj" fmla="val 24672"/>
                </a:avLst>
              </a:prstGeom>
              <a:solidFill>
                <a:schemeClr val="bg1"/>
              </a:solidFill>
              <a:ln>
                <a:solidFill>
                  <a:schemeClr val="accent6">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a:ln>
                      <a:noFill/>
                    </a:ln>
                    <a:solidFill>
                      <a:srgbClr val="00205C"/>
                    </a:solidFill>
                    <a:effectLst/>
                    <a:uLnTx/>
                    <a:uFillTx/>
                    <a:latin typeface="Source Sans Pro"/>
                    <a:ea typeface="+mn-ea"/>
                    <a:cs typeface="+mn-cs"/>
                  </a:rPr>
                  <a:t>2026</a:t>
                </a:r>
                <a:endParaRPr kumimoji="0" lang="es-AR" sz="1200" b="0" i="0" u="none" strike="noStrike" kern="1200" cap="none" spc="0" normalizeH="0" baseline="0" noProof="0" dirty="0">
                  <a:ln>
                    <a:noFill/>
                  </a:ln>
                  <a:solidFill>
                    <a:srgbClr val="00205C"/>
                  </a:solidFill>
                  <a:effectLst/>
                  <a:uLnTx/>
                  <a:uFillTx/>
                  <a:latin typeface="Source Sans Pro"/>
                  <a:ea typeface="+mn-ea"/>
                  <a:cs typeface="+mn-cs"/>
                </a:endParaRPr>
              </a:p>
            </p:txBody>
          </p:sp>
          <p:grpSp>
            <p:nvGrpSpPr>
              <p:cNvPr id="35" name="Group 34">
                <a:extLst>
                  <a:ext uri="{FF2B5EF4-FFF2-40B4-BE49-F238E27FC236}">
                    <a16:creationId xmlns:a16="http://schemas.microsoft.com/office/drawing/2014/main" id="{B6522C89-542D-3091-6F97-347C59F5A8E7}"/>
                  </a:ext>
                </a:extLst>
              </p:cNvPr>
              <p:cNvGrpSpPr/>
              <p:nvPr/>
            </p:nvGrpSpPr>
            <p:grpSpPr>
              <a:xfrm>
                <a:off x="7032241" y="3388836"/>
                <a:ext cx="1341788" cy="1142524"/>
                <a:chOff x="7032241" y="3388836"/>
                <a:chExt cx="1341788" cy="1142524"/>
              </a:xfrm>
            </p:grpSpPr>
            <p:sp>
              <p:nvSpPr>
                <p:cNvPr id="134" name="Rectangle 133">
                  <a:extLst>
                    <a:ext uri="{FF2B5EF4-FFF2-40B4-BE49-F238E27FC236}">
                      <a16:creationId xmlns:a16="http://schemas.microsoft.com/office/drawing/2014/main" id="{1CAEA458-7624-F750-0114-7FD8AD8A733A}"/>
                    </a:ext>
                  </a:extLst>
                </p:cNvPr>
                <p:cNvSpPr/>
                <p:nvPr/>
              </p:nvSpPr>
              <p:spPr>
                <a:xfrm rot="10800000" flipV="1">
                  <a:off x="7038372" y="3823986"/>
                  <a:ext cx="1335657" cy="688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35" name="TextBox 134">
                  <a:extLst>
                    <a:ext uri="{FF2B5EF4-FFF2-40B4-BE49-F238E27FC236}">
                      <a16:creationId xmlns:a16="http://schemas.microsoft.com/office/drawing/2014/main" id="{D47E16C8-89DA-494B-0079-1DAB6A4977FF}"/>
                    </a:ext>
                  </a:extLst>
                </p:cNvPr>
                <p:cNvSpPr txBox="1"/>
                <p:nvPr/>
              </p:nvSpPr>
              <p:spPr>
                <a:xfrm rot="10800000" flipV="1">
                  <a:off x="7138970" y="4006724"/>
                  <a:ext cx="1151589" cy="32316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New procurement initiative</a:t>
                  </a:r>
                </a:p>
              </p:txBody>
            </p:sp>
            <p:cxnSp>
              <p:nvCxnSpPr>
                <p:cNvPr id="136" name="Straight Connector 135">
                  <a:extLst>
                    <a:ext uri="{FF2B5EF4-FFF2-40B4-BE49-F238E27FC236}">
                      <a16:creationId xmlns:a16="http://schemas.microsoft.com/office/drawing/2014/main" id="{92AFD14F-527C-CFC6-27EF-C86341401F14}"/>
                    </a:ext>
                  </a:extLst>
                </p:cNvPr>
                <p:cNvCxnSpPr>
                  <a:cxnSpLocks/>
                </p:cNvCxnSpPr>
                <p:nvPr/>
              </p:nvCxnSpPr>
              <p:spPr>
                <a:xfrm flipV="1">
                  <a:off x="7032241" y="3388836"/>
                  <a:ext cx="0" cy="1142524"/>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137" name="Diamond 136">
              <a:extLst>
                <a:ext uri="{FF2B5EF4-FFF2-40B4-BE49-F238E27FC236}">
                  <a16:creationId xmlns:a16="http://schemas.microsoft.com/office/drawing/2014/main" id="{BE574B23-F23C-283F-A037-55B026794F12}"/>
                </a:ext>
              </a:extLst>
            </p:cNvPr>
            <p:cNvSpPr/>
            <p:nvPr/>
          </p:nvSpPr>
          <p:spPr>
            <a:xfrm flipV="1">
              <a:off x="7003793" y="4499425"/>
              <a:ext cx="60706" cy="60706"/>
            </a:xfrm>
            <a:prstGeom prst="diamond">
              <a:avLst/>
            </a:prstGeom>
            <a:solidFill>
              <a:srgbClr val="53168B"/>
            </a:solidFill>
            <a:ln w="6350" cap="rnd">
              <a:solidFill>
                <a:srgbClr val="53168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3168B"/>
                </a:solidFill>
                <a:effectLst/>
                <a:uLnTx/>
                <a:uFillTx/>
                <a:latin typeface="Source Sans Pro"/>
                <a:ea typeface="+mn-ea"/>
                <a:cs typeface="+mn-cs"/>
              </a:endParaRPr>
            </a:p>
          </p:txBody>
        </p:sp>
        <p:sp>
          <p:nvSpPr>
            <p:cNvPr id="179" name="Oval 178">
              <a:extLst>
                <a:ext uri="{FF2B5EF4-FFF2-40B4-BE49-F238E27FC236}">
                  <a16:creationId xmlns:a16="http://schemas.microsoft.com/office/drawing/2014/main" id="{31459F1C-DFBF-144E-7EB4-E4C73BE3603C}"/>
                </a:ext>
              </a:extLst>
            </p:cNvPr>
            <p:cNvSpPr/>
            <p:nvPr/>
          </p:nvSpPr>
          <p:spPr>
            <a:xfrm>
              <a:off x="7007669" y="2869934"/>
              <a:ext cx="45719" cy="45719"/>
            </a:xfrm>
            <a:prstGeom prst="ellipse">
              <a:avLst/>
            </a:prstGeom>
            <a:solidFill>
              <a:srgbClr val="8DBB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80" name="Oval 179">
              <a:extLst>
                <a:ext uri="{FF2B5EF4-FFF2-40B4-BE49-F238E27FC236}">
                  <a16:creationId xmlns:a16="http://schemas.microsoft.com/office/drawing/2014/main" id="{F4ECDEF6-673E-18E7-2408-90B249B7EC82}"/>
                </a:ext>
              </a:extLst>
            </p:cNvPr>
            <p:cNvSpPr/>
            <p:nvPr/>
          </p:nvSpPr>
          <p:spPr>
            <a:xfrm>
              <a:off x="7007669" y="3363964"/>
              <a:ext cx="45719" cy="45719"/>
            </a:xfrm>
            <a:prstGeom prst="ellipse">
              <a:avLst/>
            </a:prstGeom>
            <a:solidFill>
              <a:srgbClr val="531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grpSp>
        <p:nvGrpSpPr>
          <p:cNvPr id="48" name="Group 47">
            <a:extLst>
              <a:ext uri="{FF2B5EF4-FFF2-40B4-BE49-F238E27FC236}">
                <a16:creationId xmlns:a16="http://schemas.microsoft.com/office/drawing/2014/main" id="{7A237BE8-D9EC-415A-E0C3-7FC3967BFF94}"/>
              </a:ext>
            </a:extLst>
          </p:cNvPr>
          <p:cNvGrpSpPr/>
          <p:nvPr/>
        </p:nvGrpSpPr>
        <p:grpSpPr>
          <a:xfrm>
            <a:off x="7939130" y="1629309"/>
            <a:ext cx="1536340" cy="1756718"/>
            <a:chOff x="7939130" y="1629309"/>
            <a:chExt cx="1536340" cy="1756718"/>
          </a:xfrm>
        </p:grpSpPr>
        <p:grpSp>
          <p:nvGrpSpPr>
            <p:cNvPr id="37" name="Group 36">
              <a:extLst>
                <a:ext uri="{FF2B5EF4-FFF2-40B4-BE49-F238E27FC236}">
                  <a16:creationId xmlns:a16="http://schemas.microsoft.com/office/drawing/2014/main" id="{5C21D38A-B098-2A3F-30E7-807C3E9D18D3}"/>
                </a:ext>
              </a:extLst>
            </p:cNvPr>
            <p:cNvGrpSpPr/>
            <p:nvPr/>
          </p:nvGrpSpPr>
          <p:grpSpPr>
            <a:xfrm>
              <a:off x="7939130" y="1629309"/>
              <a:ext cx="1536340" cy="1756718"/>
              <a:chOff x="7939130" y="1629309"/>
              <a:chExt cx="1536340" cy="1756718"/>
            </a:xfrm>
          </p:grpSpPr>
          <p:grpSp>
            <p:nvGrpSpPr>
              <p:cNvPr id="96" name="Group 95">
                <a:extLst>
                  <a:ext uri="{FF2B5EF4-FFF2-40B4-BE49-F238E27FC236}">
                    <a16:creationId xmlns:a16="http://schemas.microsoft.com/office/drawing/2014/main" id="{E69C03A0-2E0F-842C-FBEE-7F8B063387A5}"/>
                  </a:ext>
                </a:extLst>
              </p:cNvPr>
              <p:cNvGrpSpPr/>
              <p:nvPr/>
            </p:nvGrpSpPr>
            <p:grpSpPr>
              <a:xfrm>
                <a:off x="7939130" y="1629309"/>
                <a:ext cx="1536340" cy="1267474"/>
                <a:chOff x="1385190" y="1916757"/>
                <a:chExt cx="1536340" cy="1267474"/>
              </a:xfrm>
            </p:grpSpPr>
            <p:sp>
              <p:nvSpPr>
                <p:cNvPr id="97" name="Rectangle 96">
                  <a:extLst>
                    <a:ext uri="{FF2B5EF4-FFF2-40B4-BE49-F238E27FC236}">
                      <a16:creationId xmlns:a16="http://schemas.microsoft.com/office/drawing/2014/main" id="{C451C3B6-25CF-6ECE-C348-78A64065C8C1}"/>
                    </a:ext>
                  </a:extLst>
                </p:cNvPr>
                <p:cNvSpPr/>
                <p:nvPr/>
              </p:nvSpPr>
              <p:spPr>
                <a:xfrm>
                  <a:off x="1415543" y="1947885"/>
                  <a:ext cx="1505987" cy="6886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Source Sans Pro"/>
                    <a:ea typeface="+mn-ea"/>
                    <a:cs typeface="+mn-cs"/>
                  </a:endParaRPr>
                </a:p>
              </p:txBody>
            </p:sp>
            <p:sp>
              <p:nvSpPr>
                <p:cNvPr id="98" name="TextBox 97">
                  <a:extLst>
                    <a:ext uri="{FF2B5EF4-FFF2-40B4-BE49-F238E27FC236}">
                      <a16:creationId xmlns:a16="http://schemas.microsoft.com/office/drawing/2014/main" id="{870C4B6E-4E84-7BE2-189D-B872F9415C07}"/>
                    </a:ext>
                  </a:extLst>
                </p:cNvPr>
                <p:cNvSpPr txBox="1"/>
                <p:nvPr/>
              </p:nvSpPr>
              <p:spPr>
                <a:xfrm>
                  <a:off x="1523778" y="2049828"/>
                  <a:ext cx="1287261" cy="48474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Publication of results of first batch of priority funded research</a:t>
                  </a:r>
                </a:p>
              </p:txBody>
            </p:sp>
            <p:cxnSp>
              <p:nvCxnSpPr>
                <p:cNvPr id="99" name="Straight Connector 98">
                  <a:extLst>
                    <a:ext uri="{FF2B5EF4-FFF2-40B4-BE49-F238E27FC236}">
                      <a16:creationId xmlns:a16="http://schemas.microsoft.com/office/drawing/2014/main" id="{22D7E8DD-D2C2-2917-36DB-5014065E2215}"/>
                    </a:ext>
                  </a:extLst>
                </p:cNvPr>
                <p:cNvCxnSpPr>
                  <a:cxnSpLocks/>
                </p:cNvCxnSpPr>
                <p:nvPr/>
              </p:nvCxnSpPr>
              <p:spPr>
                <a:xfrm>
                  <a:off x="1415543" y="1950720"/>
                  <a:ext cx="0" cy="1233511"/>
                </a:xfrm>
                <a:prstGeom prst="line">
                  <a:avLst/>
                </a:prstGeom>
                <a:ln w="15875">
                  <a:solidFill>
                    <a:srgbClr val="A7208D"/>
                  </a:solidFill>
                </a:ln>
              </p:spPr>
              <p:style>
                <a:lnRef idx="1">
                  <a:schemeClr val="accent1"/>
                </a:lnRef>
                <a:fillRef idx="0">
                  <a:schemeClr val="accent1"/>
                </a:fillRef>
                <a:effectRef idx="0">
                  <a:schemeClr val="accent1"/>
                </a:effectRef>
                <a:fontRef idx="minor">
                  <a:schemeClr val="tx1"/>
                </a:fontRef>
              </p:style>
            </p:cxnSp>
            <p:sp>
              <p:nvSpPr>
                <p:cNvPr id="100" name="Diamond 99">
                  <a:extLst>
                    <a:ext uri="{FF2B5EF4-FFF2-40B4-BE49-F238E27FC236}">
                      <a16:creationId xmlns:a16="http://schemas.microsoft.com/office/drawing/2014/main" id="{5C334A9F-46A6-95E9-4116-20F2B0AFC209}"/>
                    </a:ext>
                  </a:extLst>
                </p:cNvPr>
                <p:cNvSpPr/>
                <p:nvPr/>
              </p:nvSpPr>
              <p:spPr>
                <a:xfrm>
                  <a:off x="1385190" y="1916757"/>
                  <a:ext cx="60706" cy="60706"/>
                </a:xfrm>
                <a:prstGeom prst="diamond">
                  <a:avLst/>
                </a:prstGeom>
                <a:solidFill>
                  <a:srgbClr val="A7208D"/>
                </a:solidFill>
                <a:ln w="6350" cap="rnd">
                  <a:solidFill>
                    <a:srgbClr val="A720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14" name="Arrow: Chevron 13">
                <a:extLst>
                  <a:ext uri="{FF2B5EF4-FFF2-40B4-BE49-F238E27FC236}">
                    <a16:creationId xmlns:a16="http://schemas.microsoft.com/office/drawing/2014/main" id="{096364CB-2AEE-8C66-E868-8C0756490A73}"/>
                  </a:ext>
                </a:extLst>
              </p:cNvPr>
              <p:cNvSpPr/>
              <p:nvPr/>
            </p:nvSpPr>
            <p:spPr>
              <a:xfrm>
                <a:off x="7968358" y="2897077"/>
                <a:ext cx="972379" cy="488950"/>
              </a:xfrm>
              <a:prstGeom prst="chevron">
                <a:avLst>
                  <a:gd name="adj" fmla="val 24672"/>
                </a:avLst>
              </a:prstGeom>
              <a:solidFill>
                <a:schemeClr val="bg1"/>
              </a:solidFill>
              <a:ln>
                <a:solidFill>
                  <a:schemeClr val="accent6">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a:ln>
                      <a:noFill/>
                    </a:ln>
                    <a:solidFill>
                      <a:srgbClr val="00205C"/>
                    </a:solidFill>
                    <a:effectLst/>
                    <a:uLnTx/>
                    <a:uFillTx/>
                    <a:latin typeface="Source Sans Pro"/>
                    <a:ea typeface="+mn-ea"/>
                    <a:cs typeface="+mn-cs"/>
                  </a:rPr>
                  <a:t>2027</a:t>
                </a:r>
                <a:endParaRPr kumimoji="0" lang="es-AR" sz="1200" b="0" i="0" u="none" strike="noStrike" kern="1200" cap="none" spc="0" normalizeH="0" baseline="0" noProof="0" dirty="0">
                  <a:ln>
                    <a:noFill/>
                  </a:ln>
                  <a:solidFill>
                    <a:srgbClr val="00205C"/>
                  </a:solidFill>
                  <a:effectLst/>
                  <a:uLnTx/>
                  <a:uFillTx/>
                  <a:latin typeface="Source Sans Pro"/>
                  <a:ea typeface="+mn-ea"/>
                  <a:cs typeface="+mn-cs"/>
                </a:endParaRPr>
              </a:p>
            </p:txBody>
          </p:sp>
        </p:grpSp>
        <p:sp>
          <p:nvSpPr>
            <p:cNvPr id="181" name="Oval 180">
              <a:extLst>
                <a:ext uri="{FF2B5EF4-FFF2-40B4-BE49-F238E27FC236}">
                  <a16:creationId xmlns:a16="http://schemas.microsoft.com/office/drawing/2014/main" id="{66E1F8B8-3615-1491-5DB0-ED1B296094BF}"/>
                </a:ext>
              </a:extLst>
            </p:cNvPr>
            <p:cNvSpPr/>
            <p:nvPr/>
          </p:nvSpPr>
          <p:spPr>
            <a:xfrm>
              <a:off x="7950250" y="2869934"/>
              <a:ext cx="45719" cy="45719"/>
            </a:xfrm>
            <a:prstGeom prst="ellipse">
              <a:avLst/>
            </a:prstGeom>
            <a:solidFill>
              <a:srgbClr val="A720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grpSp>
        <p:nvGrpSpPr>
          <p:cNvPr id="49" name="Group 48">
            <a:extLst>
              <a:ext uri="{FF2B5EF4-FFF2-40B4-BE49-F238E27FC236}">
                <a16:creationId xmlns:a16="http://schemas.microsoft.com/office/drawing/2014/main" id="{7BCBA49F-661B-06CC-50DA-AFF1BD22010E}"/>
              </a:ext>
            </a:extLst>
          </p:cNvPr>
          <p:cNvGrpSpPr/>
          <p:nvPr/>
        </p:nvGrpSpPr>
        <p:grpSpPr>
          <a:xfrm>
            <a:off x="9806995" y="390536"/>
            <a:ext cx="1158631" cy="2995491"/>
            <a:chOff x="9806995" y="390536"/>
            <a:chExt cx="1158631" cy="2995491"/>
          </a:xfrm>
        </p:grpSpPr>
        <p:sp>
          <p:nvSpPr>
            <p:cNvPr id="109" name="Diamond 108">
              <a:extLst>
                <a:ext uri="{FF2B5EF4-FFF2-40B4-BE49-F238E27FC236}">
                  <a16:creationId xmlns:a16="http://schemas.microsoft.com/office/drawing/2014/main" id="{78D795C8-8CAB-813B-D0B7-37966A6A6599}"/>
                </a:ext>
              </a:extLst>
            </p:cNvPr>
            <p:cNvSpPr/>
            <p:nvPr/>
          </p:nvSpPr>
          <p:spPr>
            <a:xfrm>
              <a:off x="9806995" y="390536"/>
              <a:ext cx="60706" cy="60706"/>
            </a:xfrm>
            <a:prstGeom prst="diamond">
              <a:avLst/>
            </a:prstGeom>
            <a:solidFill>
              <a:srgbClr val="8DBB00"/>
            </a:solidFill>
            <a:ln w="6350" cap="rnd">
              <a:solidFill>
                <a:srgbClr val="8DBB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Source Sans Pro"/>
                <a:ea typeface="+mn-ea"/>
                <a:cs typeface="+mn-cs"/>
              </a:endParaRPr>
            </a:p>
          </p:txBody>
        </p:sp>
        <p:grpSp>
          <p:nvGrpSpPr>
            <p:cNvPr id="39" name="Group 38">
              <a:extLst>
                <a:ext uri="{FF2B5EF4-FFF2-40B4-BE49-F238E27FC236}">
                  <a16:creationId xmlns:a16="http://schemas.microsoft.com/office/drawing/2014/main" id="{F59A901B-9EAD-60C4-ED47-505EB8DD21EF}"/>
                </a:ext>
              </a:extLst>
            </p:cNvPr>
            <p:cNvGrpSpPr/>
            <p:nvPr/>
          </p:nvGrpSpPr>
          <p:grpSpPr>
            <a:xfrm>
              <a:off x="9840591" y="436452"/>
              <a:ext cx="1125035" cy="2949575"/>
              <a:chOff x="9840591" y="436452"/>
              <a:chExt cx="1125035" cy="2949575"/>
            </a:xfrm>
          </p:grpSpPr>
          <p:grpSp>
            <p:nvGrpSpPr>
              <p:cNvPr id="38" name="Group 37">
                <a:extLst>
                  <a:ext uri="{FF2B5EF4-FFF2-40B4-BE49-F238E27FC236}">
                    <a16:creationId xmlns:a16="http://schemas.microsoft.com/office/drawing/2014/main" id="{899E66E9-93F5-AC69-556C-8A1D26EEDCCD}"/>
                  </a:ext>
                </a:extLst>
              </p:cNvPr>
              <p:cNvGrpSpPr/>
              <p:nvPr/>
            </p:nvGrpSpPr>
            <p:grpSpPr>
              <a:xfrm>
                <a:off x="9841840" y="436452"/>
                <a:ext cx="1123786" cy="2460331"/>
                <a:chOff x="9841840" y="436452"/>
                <a:chExt cx="1123786" cy="2460331"/>
              </a:xfrm>
            </p:grpSpPr>
            <p:sp>
              <p:nvSpPr>
                <p:cNvPr id="106" name="Rectangle 105">
                  <a:extLst>
                    <a:ext uri="{FF2B5EF4-FFF2-40B4-BE49-F238E27FC236}">
                      <a16:creationId xmlns:a16="http://schemas.microsoft.com/office/drawing/2014/main" id="{05E73EDE-5234-1454-CAB0-044BC0A2DB17}"/>
                    </a:ext>
                  </a:extLst>
                </p:cNvPr>
                <p:cNvSpPr/>
                <p:nvPr/>
              </p:nvSpPr>
              <p:spPr>
                <a:xfrm>
                  <a:off x="9847971" y="438042"/>
                  <a:ext cx="1108722" cy="6886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07" name="TextBox 106">
                  <a:extLst>
                    <a:ext uri="{FF2B5EF4-FFF2-40B4-BE49-F238E27FC236}">
                      <a16:creationId xmlns:a16="http://schemas.microsoft.com/office/drawing/2014/main" id="{72A2CFF5-B74A-66F5-C0B9-DE2960295BC0}"/>
                    </a:ext>
                  </a:extLst>
                </p:cNvPr>
                <p:cNvSpPr txBox="1"/>
                <p:nvPr/>
              </p:nvSpPr>
              <p:spPr>
                <a:xfrm>
                  <a:off x="9937548" y="539985"/>
                  <a:ext cx="1028078" cy="48474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Update of advocacy frameworks</a:t>
                  </a:r>
                </a:p>
              </p:txBody>
            </p:sp>
            <p:cxnSp>
              <p:nvCxnSpPr>
                <p:cNvPr id="108" name="Straight Connector 107">
                  <a:extLst>
                    <a:ext uri="{FF2B5EF4-FFF2-40B4-BE49-F238E27FC236}">
                      <a16:creationId xmlns:a16="http://schemas.microsoft.com/office/drawing/2014/main" id="{5D9DB833-54EE-AC0D-2EC2-C404F4B85C75}"/>
                    </a:ext>
                  </a:extLst>
                </p:cNvPr>
                <p:cNvCxnSpPr>
                  <a:cxnSpLocks/>
                </p:cNvCxnSpPr>
                <p:nvPr/>
              </p:nvCxnSpPr>
              <p:spPr>
                <a:xfrm>
                  <a:off x="9841840" y="436452"/>
                  <a:ext cx="0" cy="2460331"/>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8" name="Arrow: Chevron 17">
                <a:extLst>
                  <a:ext uri="{FF2B5EF4-FFF2-40B4-BE49-F238E27FC236}">
                    <a16:creationId xmlns:a16="http://schemas.microsoft.com/office/drawing/2014/main" id="{B98A4384-670E-262B-C8BC-ECD08EC14123}"/>
                  </a:ext>
                </a:extLst>
              </p:cNvPr>
              <p:cNvSpPr/>
              <p:nvPr/>
            </p:nvSpPr>
            <p:spPr>
              <a:xfrm>
                <a:off x="9840591" y="2897077"/>
                <a:ext cx="972379" cy="488950"/>
              </a:xfrm>
              <a:prstGeom prst="chevron">
                <a:avLst>
                  <a:gd name="adj" fmla="val 24672"/>
                </a:avLst>
              </a:prstGeom>
              <a:solidFill>
                <a:schemeClr val="bg1"/>
              </a:solidFill>
              <a:ln>
                <a:solidFill>
                  <a:schemeClr val="accent6">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a:ln>
                      <a:noFill/>
                    </a:ln>
                    <a:solidFill>
                      <a:srgbClr val="00205C"/>
                    </a:solidFill>
                    <a:effectLst/>
                    <a:uLnTx/>
                    <a:uFillTx/>
                    <a:latin typeface="Source Sans Pro"/>
                    <a:ea typeface="+mn-ea"/>
                    <a:cs typeface="+mn-cs"/>
                  </a:rPr>
                  <a:t>2029</a:t>
                </a:r>
                <a:endParaRPr kumimoji="0" lang="en-US" sz="1200" b="0" i="0" u="none" strike="noStrike" kern="1200" cap="none" spc="0" normalizeH="0" baseline="0" noProof="0">
                  <a:ln>
                    <a:noFill/>
                  </a:ln>
                  <a:solidFill>
                    <a:srgbClr val="00205C"/>
                  </a:solidFill>
                  <a:effectLst/>
                  <a:uLnTx/>
                  <a:uFillTx/>
                  <a:latin typeface="Source Sans Pro"/>
                  <a:ea typeface="+mn-ea"/>
                  <a:cs typeface="+mn-cs"/>
                </a:endParaRPr>
              </a:p>
            </p:txBody>
          </p:sp>
        </p:grpSp>
        <p:sp>
          <p:nvSpPr>
            <p:cNvPr id="182" name="Oval 181">
              <a:extLst>
                <a:ext uri="{FF2B5EF4-FFF2-40B4-BE49-F238E27FC236}">
                  <a16:creationId xmlns:a16="http://schemas.microsoft.com/office/drawing/2014/main" id="{45859915-2F0D-DBED-F4EC-7DA6BE3AD8DD}"/>
                </a:ext>
              </a:extLst>
            </p:cNvPr>
            <p:cNvSpPr/>
            <p:nvPr/>
          </p:nvSpPr>
          <p:spPr>
            <a:xfrm>
              <a:off x="9817254" y="2869934"/>
              <a:ext cx="45719" cy="45719"/>
            </a:xfrm>
            <a:prstGeom prst="ellipse">
              <a:avLst/>
            </a:prstGeom>
            <a:solidFill>
              <a:srgbClr val="8DBB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grpSp>
        <p:nvGrpSpPr>
          <p:cNvPr id="50" name="Group 49">
            <a:extLst>
              <a:ext uri="{FF2B5EF4-FFF2-40B4-BE49-F238E27FC236}">
                <a16:creationId xmlns:a16="http://schemas.microsoft.com/office/drawing/2014/main" id="{E545826E-F7D8-2399-7F18-DC3422B6905B}"/>
              </a:ext>
            </a:extLst>
          </p:cNvPr>
          <p:cNvGrpSpPr/>
          <p:nvPr/>
        </p:nvGrpSpPr>
        <p:grpSpPr>
          <a:xfrm>
            <a:off x="10734449" y="1629309"/>
            <a:ext cx="1024869" cy="1756718"/>
            <a:chOff x="10734449" y="1629309"/>
            <a:chExt cx="1024869" cy="1756718"/>
          </a:xfrm>
        </p:grpSpPr>
        <p:grpSp>
          <p:nvGrpSpPr>
            <p:cNvPr id="40" name="Group 39">
              <a:extLst>
                <a:ext uri="{FF2B5EF4-FFF2-40B4-BE49-F238E27FC236}">
                  <a16:creationId xmlns:a16="http://schemas.microsoft.com/office/drawing/2014/main" id="{A08C5B30-436F-183B-EE09-D28D418B603A}"/>
                </a:ext>
              </a:extLst>
            </p:cNvPr>
            <p:cNvGrpSpPr/>
            <p:nvPr/>
          </p:nvGrpSpPr>
          <p:grpSpPr>
            <a:xfrm>
              <a:off x="10734449" y="1629309"/>
              <a:ext cx="1024869" cy="1756718"/>
              <a:chOff x="10734449" y="1629309"/>
              <a:chExt cx="1024869" cy="1756718"/>
            </a:xfrm>
          </p:grpSpPr>
          <p:sp>
            <p:nvSpPr>
              <p:cNvPr id="19" name="Arrow: Chevron 18">
                <a:extLst>
                  <a:ext uri="{FF2B5EF4-FFF2-40B4-BE49-F238E27FC236}">
                    <a16:creationId xmlns:a16="http://schemas.microsoft.com/office/drawing/2014/main" id="{F4655C35-61F6-4A9F-4C72-B786AA112AFB}"/>
                  </a:ext>
                </a:extLst>
              </p:cNvPr>
              <p:cNvSpPr/>
              <p:nvPr/>
            </p:nvSpPr>
            <p:spPr>
              <a:xfrm>
                <a:off x="10776709" y="2897077"/>
                <a:ext cx="972379" cy="488950"/>
              </a:xfrm>
              <a:prstGeom prst="chevron">
                <a:avLst>
                  <a:gd name="adj" fmla="val 24672"/>
                </a:avLst>
              </a:prstGeom>
              <a:solidFill>
                <a:schemeClr val="bg1"/>
              </a:solidFill>
              <a:ln>
                <a:solidFill>
                  <a:schemeClr val="accent6">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205C"/>
                    </a:solidFill>
                    <a:effectLst/>
                    <a:uLnTx/>
                    <a:uFillTx/>
                    <a:latin typeface="Source Sans Pro"/>
                    <a:ea typeface="+mn-ea"/>
                    <a:cs typeface="+mn-cs"/>
                  </a:rPr>
                  <a:t>2030</a:t>
                </a:r>
              </a:p>
            </p:txBody>
          </p:sp>
          <p:grpSp>
            <p:nvGrpSpPr>
              <p:cNvPr id="110" name="Group 109">
                <a:extLst>
                  <a:ext uri="{FF2B5EF4-FFF2-40B4-BE49-F238E27FC236}">
                    <a16:creationId xmlns:a16="http://schemas.microsoft.com/office/drawing/2014/main" id="{85499A58-D944-ABBA-D936-74BBDB76F518}"/>
                  </a:ext>
                </a:extLst>
              </p:cNvPr>
              <p:cNvGrpSpPr/>
              <p:nvPr/>
            </p:nvGrpSpPr>
            <p:grpSpPr>
              <a:xfrm>
                <a:off x="10734449" y="1629309"/>
                <a:ext cx="1024869" cy="1267474"/>
                <a:chOff x="1385190" y="1916757"/>
                <a:chExt cx="1024869" cy="1267474"/>
              </a:xfrm>
            </p:grpSpPr>
            <p:sp>
              <p:nvSpPr>
                <p:cNvPr id="111" name="Rectangle 110">
                  <a:extLst>
                    <a:ext uri="{FF2B5EF4-FFF2-40B4-BE49-F238E27FC236}">
                      <a16:creationId xmlns:a16="http://schemas.microsoft.com/office/drawing/2014/main" id="{63928570-45F7-EC07-AFAD-584CB42480D7}"/>
                    </a:ext>
                  </a:extLst>
                </p:cNvPr>
                <p:cNvSpPr/>
                <p:nvPr/>
              </p:nvSpPr>
              <p:spPr>
                <a:xfrm>
                  <a:off x="1415544" y="1947885"/>
                  <a:ext cx="984286" cy="6886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Source Sans Pro"/>
                    <a:ea typeface="+mn-ea"/>
                    <a:cs typeface="+mn-cs"/>
                  </a:endParaRPr>
                </a:p>
              </p:txBody>
            </p:sp>
            <p:sp>
              <p:nvSpPr>
                <p:cNvPr id="112" name="TextBox 111">
                  <a:extLst>
                    <a:ext uri="{FF2B5EF4-FFF2-40B4-BE49-F238E27FC236}">
                      <a16:creationId xmlns:a16="http://schemas.microsoft.com/office/drawing/2014/main" id="{26F01EFB-DAFA-8335-78A3-7DB0C5CD7687}"/>
                    </a:ext>
                  </a:extLst>
                </p:cNvPr>
                <p:cNvSpPr txBox="1"/>
                <p:nvPr/>
              </p:nvSpPr>
              <p:spPr>
                <a:xfrm>
                  <a:off x="1523778" y="2061370"/>
                  <a:ext cx="886281" cy="48474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Review of pending/ new research gaps</a:t>
                  </a:r>
                </a:p>
              </p:txBody>
            </p:sp>
            <p:cxnSp>
              <p:nvCxnSpPr>
                <p:cNvPr id="113" name="Straight Connector 112">
                  <a:extLst>
                    <a:ext uri="{FF2B5EF4-FFF2-40B4-BE49-F238E27FC236}">
                      <a16:creationId xmlns:a16="http://schemas.microsoft.com/office/drawing/2014/main" id="{B19CFD4A-2EA0-E363-80F9-8D879CC840B2}"/>
                    </a:ext>
                  </a:extLst>
                </p:cNvPr>
                <p:cNvCxnSpPr>
                  <a:cxnSpLocks/>
                </p:cNvCxnSpPr>
                <p:nvPr/>
              </p:nvCxnSpPr>
              <p:spPr>
                <a:xfrm>
                  <a:off x="1415543" y="1950720"/>
                  <a:ext cx="0" cy="1233511"/>
                </a:xfrm>
                <a:prstGeom prst="line">
                  <a:avLst/>
                </a:prstGeom>
                <a:ln w="15875">
                  <a:solidFill>
                    <a:srgbClr val="A7208D"/>
                  </a:solidFill>
                </a:ln>
              </p:spPr>
              <p:style>
                <a:lnRef idx="1">
                  <a:schemeClr val="accent1"/>
                </a:lnRef>
                <a:fillRef idx="0">
                  <a:schemeClr val="accent1"/>
                </a:fillRef>
                <a:effectRef idx="0">
                  <a:schemeClr val="accent1"/>
                </a:effectRef>
                <a:fontRef idx="minor">
                  <a:schemeClr val="tx1"/>
                </a:fontRef>
              </p:style>
            </p:cxnSp>
            <p:sp>
              <p:nvSpPr>
                <p:cNvPr id="114" name="Diamond 113">
                  <a:extLst>
                    <a:ext uri="{FF2B5EF4-FFF2-40B4-BE49-F238E27FC236}">
                      <a16:creationId xmlns:a16="http://schemas.microsoft.com/office/drawing/2014/main" id="{AEDD11A3-DC5E-BD20-7DC4-2E06019B1BC3}"/>
                    </a:ext>
                  </a:extLst>
                </p:cNvPr>
                <p:cNvSpPr/>
                <p:nvPr/>
              </p:nvSpPr>
              <p:spPr>
                <a:xfrm>
                  <a:off x="1385190" y="1916757"/>
                  <a:ext cx="60706" cy="60706"/>
                </a:xfrm>
                <a:prstGeom prst="diamond">
                  <a:avLst/>
                </a:prstGeom>
                <a:solidFill>
                  <a:srgbClr val="A7208D"/>
                </a:solidFill>
                <a:ln w="6350" cap="rnd">
                  <a:solidFill>
                    <a:srgbClr val="A720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Source Sans Pro"/>
                    <a:ea typeface="+mn-ea"/>
                    <a:cs typeface="+mn-cs"/>
                  </a:endParaRPr>
                </a:p>
              </p:txBody>
            </p:sp>
          </p:grpSp>
        </p:grpSp>
        <p:sp>
          <p:nvSpPr>
            <p:cNvPr id="183" name="Oval 182">
              <a:extLst>
                <a:ext uri="{FF2B5EF4-FFF2-40B4-BE49-F238E27FC236}">
                  <a16:creationId xmlns:a16="http://schemas.microsoft.com/office/drawing/2014/main" id="{9ACA42E6-4491-56B4-310F-F29D2DEA1485}"/>
                </a:ext>
              </a:extLst>
            </p:cNvPr>
            <p:cNvSpPr/>
            <p:nvPr/>
          </p:nvSpPr>
          <p:spPr>
            <a:xfrm>
              <a:off x="10741695" y="2869934"/>
              <a:ext cx="45719" cy="45719"/>
            </a:xfrm>
            <a:prstGeom prst="ellipse">
              <a:avLst/>
            </a:prstGeom>
            <a:solidFill>
              <a:srgbClr val="A720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grpSp>
        <p:nvGrpSpPr>
          <p:cNvPr id="5" name="Group 4">
            <a:extLst>
              <a:ext uri="{FF2B5EF4-FFF2-40B4-BE49-F238E27FC236}">
                <a16:creationId xmlns:a16="http://schemas.microsoft.com/office/drawing/2014/main" id="{546356D5-EC0D-F7BD-B768-9ED7C9847573}"/>
              </a:ext>
            </a:extLst>
          </p:cNvPr>
          <p:cNvGrpSpPr/>
          <p:nvPr/>
        </p:nvGrpSpPr>
        <p:grpSpPr>
          <a:xfrm>
            <a:off x="2351660" y="2897077"/>
            <a:ext cx="1660223" cy="1676600"/>
            <a:chOff x="2351660" y="2897077"/>
            <a:chExt cx="1660223" cy="1676600"/>
          </a:xfrm>
        </p:grpSpPr>
        <p:sp>
          <p:nvSpPr>
            <p:cNvPr id="9" name="Arrow: Chevron 8">
              <a:extLst>
                <a:ext uri="{FF2B5EF4-FFF2-40B4-BE49-F238E27FC236}">
                  <a16:creationId xmlns:a16="http://schemas.microsoft.com/office/drawing/2014/main" id="{D988E4A9-B4A6-7D6A-BAEC-9293386840EC}"/>
                </a:ext>
              </a:extLst>
            </p:cNvPr>
            <p:cNvSpPr/>
            <p:nvPr/>
          </p:nvSpPr>
          <p:spPr>
            <a:xfrm>
              <a:off x="2351660" y="2897077"/>
              <a:ext cx="972379" cy="488950"/>
            </a:xfrm>
            <a:prstGeom prst="chevron">
              <a:avLst>
                <a:gd name="adj" fmla="val 24672"/>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prstClr val="white"/>
                  </a:solidFill>
                  <a:effectLst/>
                  <a:uLnTx/>
                  <a:uFillTx/>
                  <a:latin typeface="Source Sans Pro"/>
                  <a:ea typeface="+mn-ea"/>
                  <a:cs typeface="+mn-cs"/>
                </a:rPr>
                <a:t>Q3 2023</a:t>
              </a:r>
            </a:p>
          </p:txBody>
        </p:sp>
        <p:cxnSp>
          <p:nvCxnSpPr>
            <p:cNvPr id="3" name="Straight Connector 2">
              <a:extLst>
                <a:ext uri="{FF2B5EF4-FFF2-40B4-BE49-F238E27FC236}">
                  <a16:creationId xmlns:a16="http://schemas.microsoft.com/office/drawing/2014/main" id="{11149439-67AC-90F9-6AB1-12C844605AC9}"/>
                </a:ext>
              </a:extLst>
            </p:cNvPr>
            <p:cNvCxnSpPr>
              <a:cxnSpLocks/>
            </p:cNvCxnSpPr>
            <p:nvPr/>
          </p:nvCxnSpPr>
          <p:spPr>
            <a:xfrm>
              <a:off x="2828214" y="3386027"/>
              <a:ext cx="0" cy="1144484"/>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Diamond 3">
              <a:extLst>
                <a:ext uri="{FF2B5EF4-FFF2-40B4-BE49-F238E27FC236}">
                  <a16:creationId xmlns:a16="http://schemas.microsoft.com/office/drawing/2014/main" id="{E4BF18B9-A56B-31D5-2C94-9FF9E54085CD}"/>
                </a:ext>
              </a:extLst>
            </p:cNvPr>
            <p:cNvSpPr/>
            <p:nvPr/>
          </p:nvSpPr>
          <p:spPr>
            <a:xfrm>
              <a:off x="2794833" y="4512971"/>
              <a:ext cx="60706" cy="60706"/>
            </a:xfrm>
            <a:prstGeom prst="diamond">
              <a:avLst/>
            </a:prstGeom>
            <a:solidFill>
              <a:schemeClr val="tx2"/>
            </a:solidFill>
            <a:ln w="6350" cap="rnd">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21" name="Rectangle 20">
              <a:extLst>
                <a:ext uri="{FF2B5EF4-FFF2-40B4-BE49-F238E27FC236}">
                  <a16:creationId xmlns:a16="http://schemas.microsoft.com/office/drawing/2014/main" id="{C2144CC1-A105-4303-3FB4-271397528135}"/>
                </a:ext>
              </a:extLst>
            </p:cNvPr>
            <p:cNvSpPr/>
            <p:nvPr/>
          </p:nvSpPr>
          <p:spPr>
            <a:xfrm rot="10800000" flipV="1">
              <a:off x="2849523" y="3834793"/>
              <a:ext cx="1162360" cy="688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6" name="TextBox 5">
              <a:extLst>
                <a:ext uri="{FF2B5EF4-FFF2-40B4-BE49-F238E27FC236}">
                  <a16:creationId xmlns:a16="http://schemas.microsoft.com/office/drawing/2014/main" id="{D0E3F08E-70B0-3061-D7C8-4096671FCF76}"/>
                </a:ext>
              </a:extLst>
            </p:cNvPr>
            <p:cNvSpPr txBox="1"/>
            <p:nvPr/>
          </p:nvSpPr>
          <p:spPr>
            <a:xfrm>
              <a:off x="2950893" y="3957814"/>
              <a:ext cx="791325" cy="48474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WHO official publication of the Roadmap</a:t>
              </a:r>
            </a:p>
          </p:txBody>
        </p:sp>
        <p:sp>
          <p:nvSpPr>
            <p:cNvPr id="23" name="Oval 22">
              <a:extLst>
                <a:ext uri="{FF2B5EF4-FFF2-40B4-BE49-F238E27FC236}">
                  <a16:creationId xmlns:a16="http://schemas.microsoft.com/office/drawing/2014/main" id="{39FC7A27-5D18-B4E6-DD61-DBEAF5482D2C}"/>
                </a:ext>
              </a:extLst>
            </p:cNvPr>
            <p:cNvSpPr/>
            <p:nvPr/>
          </p:nvSpPr>
          <p:spPr>
            <a:xfrm>
              <a:off x="2806880" y="3389364"/>
              <a:ext cx="45719" cy="45719"/>
            </a:xfrm>
            <a:prstGeom prst="ellipse">
              <a:avLst/>
            </a:prstGeom>
            <a:solidFill>
              <a:schemeClr val="tx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grpSp>
        <p:nvGrpSpPr>
          <p:cNvPr id="2" name="Group 1">
            <a:extLst>
              <a:ext uri="{FF2B5EF4-FFF2-40B4-BE49-F238E27FC236}">
                <a16:creationId xmlns:a16="http://schemas.microsoft.com/office/drawing/2014/main" id="{F97BB5B3-F627-0838-0585-16A90C9E30CA}"/>
              </a:ext>
            </a:extLst>
          </p:cNvPr>
          <p:cNvGrpSpPr/>
          <p:nvPr/>
        </p:nvGrpSpPr>
        <p:grpSpPr>
          <a:xfrm>
            <a:off x="1393007" y="1629309"/>
            <a:ext cx="1124422" cy="1756718"/>
            <a:chOff x="1393007" y="1629309"/>
            <a:chExt cx="1124422" cy="1756718"/>
          </a:xfrm>
        </p:grpSpPr>
        <p:sp>
          <p:nvSpPr>
            <p:cNvPr id="78" name="Rectangle 77">
              <a:extLst>
                <a:ext uri="{FF2B5EF4-FFF2-40B4-BE49-F238E27FC236}">
                  <a16:creationId xmlns:a16="http://schemas.microsoft.com/office/drawing/2014/main" id="{D626E7C6-1952-0465-081B-7A318ED787D7}"/>
                </a:ext>
              </a:extLst>
            </p:cNvPr>
            <p:cNvSpPr/>
            <p:nvPr/>
          </p:nvSpPr>
          <p:spPr>
            <a:xfrm>
              <a:off x="1438326" y="1660437"/>
              <a:ext cx="1079103" cy="6886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22" name="TextBox 21">
              <a:extLst>
                <a:ext uri="{FF2B5EF4-FFF2-40B4-BE49-F238E27FC236}">
                  <a16:creationId xmlns:a16="http://schemas.microsoft.com/office/drawing/2014/main" id="{06BA7813-F24C-7505-5423-568F7834B20B}"/>
                </a:ext>
              </a:extLst>
            </p:cNvPr>
            <p:cNvSpPr txBox="1"/>
            <p:nvPr/>
          </p:nvSpPr>
          <p:spPr>
            <a:xfrm>
              <a:off x="1530525" y="1773922"/>
              <a:ext cx="791325" cy="48474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Soft launch of the PPH Roadmap</a:t>
              </a:r>
            </a:p>
          </p:txBody>
        </p:sp>
        <p:cxnSp>
          <p:nvCxnSpPr>
            <p:cNvPr id="74" name="Straight Connector 73">
              <a:extLst>
                <a:ext uri="{FF2B5EF4-FFF2-40B4-BE49-F238E27FC236}">
                  <a16:creationId xmlns:a16="http://schemas.microsoft.com/office/drawing/2014/main" id="{0A18BD2F-6675-FF87-1604-6CD3AB03106F}"/>
                </a:ext>
              </a:extLst>
            </p:cNvPr>
            <p:cNvCxnSpPr>
              <a:cxnSpLocks/>
            </p:cNvCxnSpPr>
            <p:nvPr/>
          </p:nvCxnSpPr>
          <p:spPr>
            <a:xfrm>
              <a:off x="1420038" y="1663272"/>
              <a:ext cx="0" cy="123351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Diamond 84">
              <a:extLst>
                <a:ext uri="{FF2B5EF4-FFF2-40B4-BE49-F238E27FC236}">
                  <a16:creationId xmlns:a16="http://schemas.microsoft.com/office/drawing/2014/main" id="{C1C6E05F-BD07-1816-66FE-7B53F5AF6D1F}"/>
                </a:ext>
              </a:extLst>
            </p:cNvPr>
            <p:cNvSpPr/>
            <p:nvPr/>
          </p:nvSpPr>
          <p:spPr>
            <a:xfrm>
              <a:off x="1393007" y="1629309"/>
              <a:ext cx="60706" cy="60706"/>
            </a:xfrm>
            <a:prstGeom prst="diamond">
              <a:avLst/>
            </a:prstGeom>
            <a:solidFill>
              <a:schemeClr val="tx2"/>
            </a:solidFill>
            <a:ln w="6350" cap="rnd">
              <a:solidFill>
                <a:schemeClr val="tx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6" name="Arrow: Chevron 15">
              <a:extLst>
                <a:ext uri="{FF2B5EF4-FFF2-40B4-BE49-F238E27FC236}">
                  <a16:creationId xmlns:a16="http://schemas.microsoft.com/office/drawing/2014/main" id="{CEC92180-F1C1-B10D-04A6-53D92539764E}"/>
                </a:ext>
              </a:extLst>
            </p:cNvPr>
            <p:cNvSpPr/>
            <p:nvPr/>
          </p:nvSpPr>
          <p:spPr>
            <a:xfrm>
              <a:off x="1415543" y="2897077"/>
              <a:ext cx="972379" cy="488950"/>
            </a:xfrm>
            <a:prstGeom prst="chevron">
              <a:avLst>
                <a:gd name="adj" fmla="val 24672"/>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prstClr val="white"/>
                  </a:solidFill>
                  <a:effectLst/>
                  <a:uLnTx/>
                  <a:uFillTx/>
                  <a:latin typeface="Source Sans Pro"/>
                  <a:ea typeface="+mn-ea"/>
                  <a:cs typeface="+mn-cs"/>
                </a:rPr>
                <a:t>Q2 2023</a:t>
              </a:r>
            </a:p>
          </p:txBody>
        </p:sp>
        <p:sp>
          <p:nvSpPr>
            <p:cNvPr id="25" name="Oval 24">
              <a:extLst>
                <a:ext uri="{FF2B5EF4-FFF2-40B4-BE49-F238E27FC236}">
                  <a16:creationId xmlns:a16="http://schemas.microsoft.com/office/drawing/2014/main" id="{90A25627-E80B-6066-73DC-84DA8F59414F}"/>
                </a:ext>
              </a:extLst>
            </p:cNvPr>
            <p:cNvSpPr/>
            <p:nvPr/>
          </p:nvSpPr>
          <p:spPr>
            <a:xfrm>
              <a:off x="1403530" y="2881364"/>
              <a:ext cx="45719" cy="45719"/>
            </a:xfrm>
            <a:prstGeom prst="ellipse">
              <a:avLst/>
            </a:prstGeom>
            <a:solidFill>
              <a:schemeClr val="tx2"/>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pic>
        <p:nvPicPr>
          <p:cNvPr id="7" name="Picture 6" descr="A black and yellow sign with white text&#10;&#10;Description automatically generated">
            <a:extLst>
              <a:ext uri="{FF2B5EF4-FFF2-40B4-BE49-F238E27FC236}">
                <a16:creationId xmlns:a16="http://schemas.microsoft.com/office/drawing/2014/main" id="{5CC8E128-0208-7166-B71F-4B2E1AA75B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2343" y="2940850"/>
            <a:ext cx="1152000" cy="419824"/>
          </a:xfrm>
          <a:prstGeom prst="rect">
            <a:avLst/>
          </a:prstGeom>
        </p:spPr>
      </p:pic>
      <p:grpSp>
        <p:nvGrpSpPr>
          <p:cNvPr id="46" name="Group 45">
            <a:extLst>
              <a:ext uri="{FF2B5EF4-FFF2-40B4-BE49-F238E27FC236}">
                <a16:creationId xmlns:a16="http://schemas.microsoft.com/office/drawing/2014/main" id="{AC7D5AAF-39B3-3289-3878-49EF4EDEA155}"/>
              </a:ext>
            </a:extLst>
          </p:cNvPr>
          <p:cNvGrpSpPr/>
          <p:nvPr/>
        </p:nvGrpSpPr>
        <p:grpSpPr>
          <a:xfrm>
            <a:off x="6065470" y="1629309"/>
            <a:ext cx="1900994" cy="3885202"/>
            <a:chOff x="6065470" y="1629309"/>
            <a:chExt cx="1900994" cy="3885202"/>
          </a:xfrm>
        </p:grpSpPr>
        <p:sp>
          <p:nvSpPr>
            <p:cNvPr id="129" name="Diamond 128">
              <a:extLst>
                <a:ext uri="{FF2B5EF4-FFF2-40B4-BE49-F238E27FC236}">
                  <a16:creationId xmlns:a16="http://schemas.microsoft.com/office/drawing/2014/main" id="{CC680FA3-F9B1-17CC-0E40-139A180B264B}"/>
                </a:ext>
              </a:extLst>
            </p:cNvPr>
            <p:cNvSpPr/>
            <p:nvPr/>
          </p:nvSpPr>
          <p:spPr>
            <a:xfrm flipV="1">
              <a:off x="6065470" y="5453805"/>
              <a:ext cx="60706" cy="60706"/>
            </a:xfrm>
            <a:prstGeom prst="diamond">
              <a:avLst/>
            </a:prstGeom>
            <a:solidFill>
              <a:srgbClr val="53168B"/>
            </a:solidFill>
            <a:ln w="6350" cap="rnd">
              <a:solidFill>
                <a:srgbClr val="53168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3168B"/>
                </a:solidFill>
                <a:effectLst/>
                <a:uLnTx/>
                <a:uFillTx/>
                <a:latin typeface="Source Sans Pro"/>
                <a:ea typeface="+mn-ea"/>
                <a:cs typeface="+mn-cs"/>
              </a:endParaRPr>
            </a:p>
          </p:txBody>
        </p:sp>
        <p:grpSp>
          <p:nvGrpSpPr>
            <p:cNvPr id="32" name="Group 31">
              <a:extLst>
                <a:ext uri="{FF2B5EF4-FFF2-40B4-BE49-F238E27FC236}">
                  <a16:creationId xmlns:a16="http://schemas.microsoft.com/office/drawing/2014/main" id="{7287E7AC-BAD0-FCC9-DFE9-32A199676F7F}"/>
                </a:ext>
              </a:extLst>
            </p:cNvPr>
            <p:cNvGrpSpPr/>
            <p:nvPr/>
          </p:nvGrpSpPr>
          <p:grpSpPr>
            <a:xfrm>
              <a:off x="6065470" y="1629309"/>
              <a:ext cx="1900994" cy="3852011"/>
              <a:chOff x="6065470" y="1629309"/>
              <a:chExt cx="1900994" cy="3852011"/>
            </a:xfrm>
          </p:grpSpPr>
          <p:grpSp>
            <p:nvGrpSpPr>
              <p:cNvPr id="87" name="Group 86">
                <a:extLst>
                  <a:ext uri="{FF2B5EF4-FFF2-40B4-BE49-F238E27FC236}">
                    <a16:creationId xmlns:a16="http://schemas.microsoft.com/office/drawing/2014/main" id="{DC96502D-CADD-2B76-5B61-3AF9EC422C4E}"/>
                  </a:ext>
                </a:extLst>
              </p:cNvPr>
              <p:cNvGrpSpPr/>
              <p:nvPr/>
            </p:nvGrpSpPr>
            <p:grpSpPr>
              <a:xfrm>
                <a:off x="6065470" y="1629309"/>
                <a:ext cx="1109456" cy="1267474"/>
                <a:chOff x="1385190" y="1916757"/>
                <a:chExt cx="1109456" cy="1267474"/>
              </a:xfrm>
            </p:grpSpPr>
            <p:sp>
              <p:nvSpPr>
                <p:cNvPr id="88" name="Rectangle 87">
                  <a:extLst>
                    <a:ext uri="{FF2B5EF4-FFF2-40B4-BE49-F238E27FC236}">
                      <a16:creationId xmlns:a16="http://schemas.microsoft.com/office/drawing/2014/main" id="{D9DA1CF6-111D-56D4-E0F9-5A91BA60F0C2}"/>
                    </a:ext>
                  </a:extLst>
                </p:cNvPr>
                <p:cNvSpPr/>
                <p:nvPr/>
              </p:nvSpPr>
              <p:spPr>
                <a:xfrm>
                  <a:off x="1415543" y="1947885"/>
                  <a:ext cx="1079103" cy="6886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Source Sans Pro"/>
                    <a:ea typeface="+mn-ea"/>
                    <a:cs typeface="+mn-cs"/>
                  </a:endParaRPr>
                </a:p>
              </p:txBody>
            </p:sp>
            <p:sp>
              <p:nvSpPr>
                <p:cNvPr id="89" name="TextBox 88">
                  <a:extLst>
                    <a:ext uri="{FF2B5EF4-FFF2-40B4-BE49-F238E27FC236}">
                      <a16:creationId xmlns:a16="http://schemas.microsoft.com/office/drawing/2014/main" id="{4578762C-2143-5218-F1DA-2F5C5DF5468A}"/>
                    </a:ext>
                  </a:extLst>
                </p:cNvPr>
                <p:cNvSpPr txBox="1"/>
                <p:nvPr/>
              </p:nvSpPr>
              <p:spPr>
                <a:xfrm>
                  <a:off x="1523778" y="2061370"/>
                  <a:ext cx="791325" cy="48474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1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Global PPH Day</a:t>
                  </a:r>
                </a:p>
              </p:txBody>
            </p:sp>
            <p:cxnSp>
              <p:nvCxnSpPr>
                <p:cNvPr id="90" name="Straight Connector 89">
                  <a:extLst>
                    <a:ext uri="{FF2B5EF4-FFF2-40B4-BE49-F238E27FC236}">
                      <a16:creationId xmlns:a16="http://schemas.microsoft.com/office/drawing/2014/main" id="{BA406580-FF14-4887-57DF-551E3F8A25C0}"/>
                    </a:ext>
                  </a:extLst>
                </p:cNvPr>
                <p:cNvCxnSpPr>
                  <a:cxnSpLocks/>
                </p:cNvCxnSpPr>
                <p:nvPr/>
              </p:nvCxnSpPr>
              <p:spPr>
                <a:xfrm>
                  <a:off x="1415543" y="1950720"/>
                  <a:ext cx="0" cy="1233511"/>
                </a:xfrm>
                <a:prstGeom prst="line">
                  <a:avLst/>
                </a:prstGeom>
                <a:ln w="15875">
                  <a:solidFill>
                    <a:srgbClr val="8DBB00"/>
                  </a:solidFill>
                </a:ln>
              </p:spPr>
              <p:style>
                <a:lnRef idx="1">
                  <a:schemeClr val="accent1"/>
                </a:lnRef>
                <a:fillRef idx="0">
                  <a:schemeClr val="accent1"/>
                </a:fillRef>
                <a:effectRef idx="0">
                  <a:schemeClr val="accent1"/>
                </a:effectRef>
                <a:fontRef idx="minor">
                  <a:schemeClr val="tx1"/>
                </a:fontRef>
              </p:style>
            </p:cxnSp>
            <p:sp>
              <p:nvSpPr>
                <p:cNvPr id="91" name="Diamond 90">
                  <a:extLst>
                    <a:ext uri="{FF2B5EF4-FFF2-40B4-BE49-F238E27FC236}">
                      <a16:creationId xmlns:a16="http://schemas.microsoft.com/office/drawing/2014/main" id="{874DD829-9E59-CE78-5663-D64D82121BD8}"/>
                    </a:ext>
                  </a:extLst>
                </p:cNvPr>
                <p:cNvSpPr/>
                <p:nvPr/>
              </p:nvSpPr>
              <p:spPr>
                <a:xfrm>
                  <a:off x="1385190" y="1916757"/>
                  <a:ext cx="60706" cy="60706"/>
                </a:xfrm>
                <a:prstGeom prst="diamond">
                  <a:avLst/>
                </a:prstGeom>
                <a:solidFill>
                  <a:srgbClr val="8DBB00"/>
                </a:solidFill>
                <a:ln w="6350" cap="rnd">
                  <a:solidFill>
                    <a:srgbClr val="8DBB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12" name="Arrow: Chevron 11">
                <a:extLst>
                  <a:ext uri="{FF2B5EF4-FFF2-40B4-BE49-F238E27FC236}">
                    <a16:creationId xmlns:a16="http://schemas.microsoft.com/office/drawing/2014/main" id="{8AB9FE9E-4AA6-E429-4745-1E522E56108C}"/>
                  </a:ext>
                </a:extLst>
              </p:cNvPr>
              <p:cNvSpPr/>
              <p:nvPr/>
            </p:nvSpPr>
            <p:spPr>
              <a:xfrm>
                <a:off x="6096125" y="2897077"/>
                <a:ext cx="972379" cy="488950"/>
              </a:xfrm>
              <a:prstGeom prst="chevron">
                <a:avLst>
                  <a:gd name="adj" fmla="val 24672"/>
                </a:avLst>
              </a:prstGeom>
              <a:solidFill>
                <a:schemeClr val="bg1"/>
              </a:solidFill>
              <a:ln>
                <a:solidFill>
                  <a:schemeClr val="accent6">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205C"/>
                    </a:solidFill>
                    <a:effectLst/>
                    <a:uLnTx/>
                    <a:uFillTx/>
                    <a:latin typeface="Source Sans Pro"/>
                    <a:ea typeface="+mn-ea"/>
                    <a:cs typeface="+mn-cs"/>
                  </a:rPr>
                  <a:t>2025</a:t>
                </a:r>
              </a:p>
            </p:txBody>
          </p:sp>
          <p:grpSp>
            <p:nvGrpSpPr>
              <p:cNvPr id="30" name="Group 29">
                <a:extLst>
                  <a:ext uri="{FF2B5EF4-FFF2-40B4-BE49-F238E27FC236}">
                    <a16:creationId xmlns:a16="http://schemas.microsoft.com/office/drawing/2014/main" id="{4C10069A-6E34-13BE-9C58-26BD1379CDA7}"/>
                  </a:ext>
                </a:extLst>
              </p:cNvPr>
              <p:cNvGrpSpPr/>
              <p:nvPr/>
            </p:nvGrpSpPr>
            <p:grpSpPr>
              <a:xfrm>
                <a:off x="6093918" y="3388836"/>
                <a:ext cx="1872546" cy="2092484"/>
                <a:chOff x="6093918" y="3388836"/>
                <a:chExt cx="1872546" cy="2092484"/>
              </a:xfrm>
            </p:grpSpPr>
            <p:sp>
              <p:nvSpPr>
                <p:cNvPr id="126" name="Rectangle 125">
                  <a:extLst>
                    <a:ext uri="{FF2B5EF4-FFF2-40B4-BE49-F238E27FC236}">
                      <a16:creationId xmlns:a16="http://schemas.microsoft.com/office/drawing/2014/main" id="{475DED23-1E6D-40D2-4FE8-5E7BD03AB18A}"/>
                    </a:ext>
                  </a:extLst>
                </p:cNvPr>
                <p:cNvSpPr/>
                <p:nvPr/>
              </p:nvSpPr>
              <p:spPr>
                <a:xfrm rot="10800000" flipV="1">
                  <a:off x="6100049" y="4778368"/>
                  <a:ext cx="1793363" cy="688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27" name="TextBox 126">
                  <a:extLst>
                    <a:ext uri="{FF2B5EF4-FFF2-40B4-BE49-F238E27FC236}">
                      <a16:creationId xmlns:a16="http://schemas.microsoft.com/office/drawing/2014/main" id="{E7B7C7F2-AF56-6CB4-2E53-51DA468B7232}"/>
                    </a:ext>
                  </a:extLst>
                </p:cNvPr>
                <p:cNvSpPr txBox="1"/>
                <p:nvPr/>
              </p:nvSpPr>
              <p:spPr>
                <a:xfrm rot="10800000" flipV="1">
                  <a:off x="6200648" y="4961104"/>
                  <a:ext cx="1765816" cy="32316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Launch comm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measurement platform</a:t>
                  </a:r>
                </a:p>
              </p:txBody>
            </p:sp>
            <p:cxnSp>
              <p:nvCxnSpPr>
                <p:cNvPr id="128" name="Straight Connector 127">
                  <a:extLst>
                    <a:ext uri="{FF2B5EF4-FFF2-40B4-BE49-F238E27FC236}">
                      <a16:creationId xmlns:a16="http://schemas.microsoft.com/office/drawing/2014/main" id="{F2742875-6987-8FFC-B864-D505BEB0601F}"/>
                    </a:ext>
                  </a:extLst>
                </p:cNvPr>
                <p:cNvCxnSpPr>
                  <a:cxnSpLocks/>
                </p:cNvCxnSpPr>
                <p:nvPr/>
              </p:nvCxnSpPr>
              <p:spPr>
                <a:xfrm flipV="1">
                  <a:off x="6093918" y="3388836"/>
                  <a:ext cx="0" cy="2092484"/>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177" name="Oval 176">
              <a:extLst>
                <a:ext uri="{FF2B5EF4-FFF2-40B4-BE49-F238E27FC236}">
                  <a16:creationId xmlns:a16="http://schemas.microsoft.com/office/drawing/2014/main" id="{ED89233C-8A77-5254-7BAD-80E93A9ABB40}"/>
                </a:ext>
              </a:extLst>
            </p:cNvPr>
            <p:cNvSpPr/>
            <p:nvPr/>
          </p:nvSpPr>
          <p:spPr>
            <a:xfrm>
              <a:off x="6073569" y="2869934"/>
              <a:ext cx="45719" cy="45719"/>
            </a:xfrm>
            <a:prstGeom prst="ellipse">
              <a:avLst/>
            </a:prstGeom>
            <a:solidFill>
              <a:srgbClr val="8DBB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78" name="Oval 177">
              <a:extLst>
                <a:ext uri="{FF2B5EF4-FFF2-40B4-BE49-F238E27FC236}">
                  <a16:creationId xmlns:a16="http://schemas.microsoft.com/office/drawing/2014/main" id="{35834E71-EF53-E383-E952-0146BAD22BF7}"/>
                </a:ext>
              </a:extLst>
            </p:cNvPr>
            <p:cNvSpPr/>
            <p:nvPr/>
          </p:nvSpPr>
          <p:spPr>
            <a:xfrm>
              <a:off x="6073569" y="3363964"/>
              <a:ext cx="45719" cy="45719"/>
            </a:xfrm>
            <a:prstGeom prst="ellipse">
              <a:avLst/>
            </a:prstGeom>
            <a:solidFill>
              <a:srgbClr val="531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grpSp>
        <p:nvGrpSpPr>
          <p:cNvPr id="45" name="Group 44">
            <a:extLst>
              <a:ext uri="{FF2B5EF4-FFF2-40B4-BE49-F238E27FC236}">
                <a16:creationId xmlns:a16="http://schemas.microsoft.com/office/drawing/2014/main" id="{BB5F9914-C4D7-5379-6B84-75E98A205A47}"/>
              </a:ext>
            </a:extLst>
          </p:cNvPr>
          <p:cNvGrpSpPr/>
          <p:nvPr/>
        </p:nvGrpSpPr>
        <p:grpSpPr>
          <a:xfrm>
            <a:off x="5137129" y="390536"/>
            <a:ext cx="1743731" cy="4169595"/>
            <a:chOff x="5137129" y="390536"/>
            <a:chExt cx="1743731" cy="4169595"/>
          </a:xfrm>
        </p:grpSpPr>
        <p:grpSp>
          <p:nvGrpSpPr>
            <p:cNvPr id="42" name="Group 41">
              <a:extLst>
                <a:ext uri="{FF2B5EF4-FFF2-40B4-BE49-F238E27FC236}">
                  <a16:creationId xmlns:a16="http://schemas.microsoft.com/office/drawing/2014/main" id="{B2C877F2-B84A-AD33-1CDE-C3250A670E08}"/>
                </a:ext>
              </a:extLst>
            </p:cNvPr>
            <p:cNvGrpSpPr/>
            <p:nvPr/>
          </p:nvGrpSpPr>
          <p:grpSpPr>
            <a:xfrm>
              <a:off x="5137129" y="390536"/>
              <a:ext cx="1743731" cy="4169595"/>
              <a:chOff x="5137129" y="390536"/>
              <a:chExt cx="1743731" cy="4169595"/>
            </a:xfrm>
          </p:grpSpPr>
          <p:sp>
            <p:nvSpPr>
              <p:cNvPr id="124" name="Diamond 123">
                <a:extLst>
                  <a:ext uri="{FF2B5EF4-FFF2-40B4-BE49-F238E27FC236}">
                    <a16:creationId xmlns:a16="http://schemas.microsoft.com/office/drawing/2014/main" id="{13DD6AC9-38DB-CD72-744C-26FB368D3364}"/>
                  </a:ext>
                </a:extLst>
              </p:cNvPr>
              <p:cNvSpPr/>
              <p:nvPr/>
            </p:nvSpPr>
            <p:spPr>
              <a:xfrm flipV="1">
                <a:off x="5137129" y="4499425"/>
                <a:ext cx="60706" cy="60706"/>
              </a:xfrm>
              <a:prstGeom prst="diamond">
                <a:avLst/>
              </a:prstGeom>
              <a:solidFill>
                <a:srgbClr val="53168B"/>
              </a:solidFill>
              <a:ln w="6350" cap="rnd">
                <a:solidFill>
                  <a:srgbClr val="53168B"/>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3168B"/>
                  </a:solidFill>
                  <a:effectLst/>
                  <a:uLnTx/>
                  <a:uFillTx/>
                  <a:latin typeface="Source Sans Pro"/>
                  <a:ea typeface="+mn-ea"/>
                  <a:cs typeface="+mn-cs"/>
                </a:endParaRPr>
              </a:p>
            </p:txBody>
          </p:sp>
          <p:grpSp>
            <p:nvGrpSpPr>
              <p:cNvPr id="29" name="Group 28">
                <a:extLst>
                  <a:ext uri="{FF2B5EF4-FFF2-40B4-BE49-F238E27FC236}">
                    <a16:creationId xmlns:a16="http://schemas.microsoft.com/office/drawing/2014/main" id="{A6202092-BCB2-0886-B4C1-EBC82E5EA0D2}"/>
                  </a:ext>
                </a:extLst>
              </p:cNvPr>
              <p:cNvGrpSpPr/>
              <p:nvPr/>
            </p:nvGrpSpPr>
            <p:grpSpPr>
              <a:xfrm>
                <a:off x="5142698" y="390536"/>
                <a:ext cx="1738162" cy="4145904"/>
                <a:chOff x="5142698" y="390536"/>
                <a:chExt cx="1738162" cy="4145904"/>
              </a:xfrm>
            </p:grpSpPr>
            <p:grpSp>
              <p:nvGrpSpPr>
                <p:cNvPr id="115" name="Group 114">
                  <a:extLst>
                    <a:ext uri="{FF2B5EF4-FFF2-40B4-BE49-F238E27FC236}">
                      <a16:creationId xmlns:a16="http://schemas.microsoft.com/office/drawing/2014/main" id="{9E9BA00D-26D0-DCC8-20D7-5DEE8F9859FD}"/>
                    </a:ext>
                  </a:extLst>
                </p:cNvPr>
                <p:cNvGrpSpPr/>
                <p:nvPr/>
              </p:nvGrpSpPr>
              <p:grpSpPr>
                <a:xfrm>
                  <a:off x="5142698" y="390536"/>
                  <a:ext cx="1476051" cy="2506247"/>
                  <a:chOff x="5142698" y="677984"/>
                  <a:chExt cx="1476051" cy="2506247"/>
                </a:xfrm>
              </p:grpSpPr>
              <p:sp>
                <p:nvSpPr>
                  <p:cNvPr id="82" name="Rectangle 81">
                    <a:extLst>
                      <a:ext uri="{FF2B5EF4-FFF2-40B4-BE49-F238E27FC236}">
                        <a16:creationId xmlns:a16="http://schemas.microsoft.com/office/drawing/2014/main" id="{39E07DFF-C3DC-7D46-80D3-947A0396EBBF}"/>
                      </a:ext>
                    </a:extLst>
                  </p:cNvPr>
                  <p:cNvSpPr/>
                  <p:nvPr/>
                </p:nvSpPr>
                <p:spPr>
                  <a:xfrm>
                    <a:off x="5177277" y="725490"/>
                    <a:ext cx="1441472" cy="6886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Source Sans Pro"/>
                      <a:ea typeface="+mn-ea"/>
                      <a:cs typeface="+mn-cs"/>
                    </a:endParaRPr>
                  </a:p>
                </p:txBody>
              </p:sp>
              <p:sp>
                <p:nvSpPr>
                  <p:cNvPr id="31" name="TextBox 30">
                    <a:extLst>
                      <a:ext uri="{FF2B5EF4-FFF2-40B4-BE49-F238E27FC236}">
                        <a16:creationId xmlns:a16="http://schemas.microsoft.com/office/drawing/2014/main" id="{8C457148-C860-E2BD-A39A-433364E20E73}"/>
                      </a:ext>
                    </a:extLst>
                  </p:cNvPr>
                  <p:cNvSpPr txBox="1"/>
                  <p:nvPr/>
                </p:nvSpPr>
                <p:spPr>
                  <a:xfrm>
                    <a:off x="5266853" y="827433"/>
                    <a:ext cx="1245161" cy="48474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Global branding strategy and advocacy framework</a:t>
                    </a:r>
                  </a:p>
                </p:txBody>
              </p:sp>
              <p:cxnSp>
                <p:nvCxnSpPr>
                  <p:cNvPr id="34" name="Straight Connector 33">
                    <a:extLst>
                      <a:ext uri="{FF2B5EF4-FFF2-40B4-BE49-F238E27FC236}">
                        <a16:creationId xmlns:a16="http://schemas.microsoft.com/office/drawing/2014/main" id="{DF410BBA-D737-6473-54B7-23C95C347A6B}"/>
                      </a:ext>
                    </a:extLst>
                  </p:cNvPr>
                  <p:cNvCxnSpPr>
                    <a:cxnSpLocks/>
                  </p:cNvCxnSpPr>
                  <p:nvPr/>
                </p:nvCxnSpPr>
                <p:spPr>
                  <a:xfrm>
                    <a:off x="5171146" y="723900"/>
                    <a:ext cx="0" cy="2460331"/>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2" name="Diamond 101">
                    <a:extLst>
                      <a:ext uri="{FF2B5EF4-FFF2-40B4-BE49-F238E27FC236}">
                        <a16:creationId xmlns:a16="http://schemas.microsoft.com/office/drawing/2014/main" id="{1D1F2D28-FD9D-BE56-5A15-4F57507E93A5}"/>
                      </a:ext>
                    </a:extLst>
                  </p:cNvPr>
                  <p:cNvSpPr/>
                  <p:nvPr/>
                </p:nvSpPr>
                <p:spPr>
                  <a:xfrm>
                    <a:off x="5142698" y="677984"/>
                    <a:ext cx="60706" cy="60706"/>
                  </a:xfrm>
                  <a:prstGeom prst="diamond">
                    <a:avLst/>
                  </a:prstGeom>
                  <a:solidFill>
                    <a:srgbClr val="8DBB00"/>
                  </a:solidFill>
                  <a:ln w="6350" cap="rnd">
                    <a:solidFill>
                      <a:srgbClr val="8DBB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Source Sans Pro"/>
                      <a:ea typeface="+mn-ea"/>
                      <a:cs typeface="+mn-cs"/>
                    </a:endParaRPr>
                  </a:p>
                </p:txBody>
              </p:sp>
            </p:grpSp>
            <p:sp>
              <p:nvSpPr>
                <p:cNvPr id="11" name="Arrow: Chevron 10">
                  <a:extLst>
                    <a:ext uri="{FF2B5EF4-FFF2-40B4-BE49-F238E27FC236}">
                      <a16:creationId xmlns:a16="http://schemas.microsoft.com/office/drawing/2014/main" id="{DF8C62D4-7875-85B3-41D8-B5C44393272F}"/>
                    </a:ext>
                  </a:extLst>
                </p:cNvPr>
                <p:cNvSpPr/>
                <p:nvPr/>
              </p:nvSpPr>
              <p:spPr>
                <a:xfrm>
                  <a:off x="5160009" y="2897077"/>
                  <a:ext cx="972379" cy="488950"/>
                </a:xfrm>
                <a:prstGeom prst="chevron">
                  <a:avLst>
                    <a:gd name="adj" fmla="val 24672"/>
                  </a:avLst>
                </a:prstGeom>
                <a:solidFill>
                  <a:schemeClr val="bg1"/>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205C"/>
                      </a:solidFill>
                      <a:effectLst/>
                      <a:uLnTx/>
                      <a:uFillTx/>
                      <a:latin typeface="Source Sans Pro"/>
                      <a:ea typeface="+mn-ea"/>
                      <a:cs typeface="+mn-cs"/>
                    </a:rPr>
                    <a:t>H2 2024</a:t>
                  </a:r>
                </a:p>
              </p:txBody>
            </p:sp>
            <p:grpSp>
              <p:nvGrpSpPr>
                <p:cNvPr id="28" name="Group 27">
                  <a:extLst>
                    <a:ext uri="{FF2B5EF4-FFF2-40B4-BE49-F238E27FC236}">
                      <a16:creationId xmlns:a16="http://schemas.microsoft.com/office/drawing/2014/main" id="{AC7F3712-624D-B7F1-9058-930F26839478}"/>
                    </a:ext>
                  </a:extLst>
                </p:cNvPr>
                <p:cNvGrpSpPr/>
                <p:nvPr/>
              </p:nvGrpSpPr>
              <p:grpSpPr>
                <a:xfrm>
                  <a:off x="5165577" y="3388836"/>
                  <a:ext cx="1715283" cy="1147604"/>
                  <a:chOff x="5165577" y="3388836"/>
                  <a:chExt cx="1715283" cy="1147604"/>
                </a:xfrm>
              </p:grpSpPr>
              <p:sp>
                <p:nvSpPr>
                  <p:cNvPr id="121" name="Rectangle 120">
                    <a:extLst>
                      <a:ext uri="{FF2B5EF4-FFF2-40B4-BE49-F238E27FC236}">
                        <a16:creationId xmlns:a16="http://schemas.microsoft.com/office/drawing/2014/main" id="{6B06CE84-C272-A53A-2DA2-E503E7A7BF11}"/>
                      </a:ext>
                    </a:extLst>
                  </p:cNvPr>
                  <p:cNvSpPr/>
                  <p:nvPr/>
                </p:nvSpPr>
                <p:spPr>
                  <a:xfrm rot="10800000" flipV="1">
                    <a:off x="5171708" y="3823987"/>
                    <a:ext cx="1709152" cy="6886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22" name="TextBox 121">
                    <a:extLst>
                      <a:ext uri="{FF2B5EF4-FFF2-40B4-BE49-F238E27FC236}">
                        <a16:creationId xmlns:a16="http://schemas.microsoft.com/office/drawing/2014/main" id="{97FBB40D-04AC-C5FF-9003-2BFE8BD99EA8}"/>
                      </a:ext>
                    </a:extLst>
                  </p:cNvPr>
                  <p:cNvSpPr txBox="1"/>
                  <p:nvPr/>
                </p:nvSpPr>
                <p:spPr>
                  <a:xfrm rot="10800000" flipV="1">
                    <a:off x="5272307" y="4006724"/>
                    <a:ext cx="1479013" cy="32316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End of scoping exercise of longer-term solutions</a:t>
                    </a:r>
                  </a:p>
                </p:txBody>
              </p:sp>
              <p:cxnSp>
                <p:nvCxnSpPr>
                  <p:cNvPr id="123" name="Straight Connector 122">
                    <a:extLst>
                      <a:ext uri="{FF2B5EF4-FFF2-40B4-BE49-F238E27FC236}">
                        <a16:creationId xmlns:a16="http://schemas.microsoft.com/office/drawing/2014/main" id="{C75EC4B4-7836-66CC-21E1-8CD7C2C4A409}"/>
                      </a:ext>
                    </a:extLst>
                  </p:cNvPr>
                  <p:cNvCxnSpPr>
                    <a:cxnSpLocks/>
                  </p:cNvCxnSpPr>
                  <p:nvPr/>
                </p:nvCxnSpPr>
                <p:spPr>
                  <a:xfrm flipV="1">
                    <a:off x="5165577" y="3388836"/>
                    <a:ext cx="0" cy="1147604"/>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grpSp>
          </p:grpSp>
          <p:sp>
            <p:nvSpPr>
              <p:cNvPr id="176" name="Oval 175">
                <a:extLst>
                  <a:ext uri="{FF2B5EF4-FFF2-40B4-BE49-F238E27FC236}">
                    <a16:creationId xmlns:a16="http://schemas.microsoft.com/office/drawing/2014/main" id="{E7CBCED8-8B35-400B-A906-FF9E9EBBEB2A}"/>
                  </a:ext>
                </a:extLst>
              </p:cNvPr>
              <p:cNvSpPr/>
              <p:nvPr/>
            </p:nvSpPr>
            <p:spPr>
              <a:xfrm>
                <a:off x="5146220" y="3363964"/>
                <a:ext cx="45719" cy="45719"/>
              </a:xfrm>
              <a:prstGeom prst="ellipse">
                <a:avLst/>
              </a:prstGeom>
              <a:solidFill>
                <a:srgbClr val="53168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sp>
          <p:nvSpPr>
            <p:cNvPr id="175" name="Oval 174">
              <a:extLst>
                <a:ext uri="{FF2B5EF4-FFF2-40B4-BE49-F238E27FC236}">
                  <a16:creationId xmlns:a16="http://schemas.microsoft.com/office/drawing/2014/main" id="{53860E7C-946D-FA76-1224-9AB971A7316D}"/>
                </a:ext>
              </a:extLst>
            </p:cNvPr>
            <p:cNvSpPr/>
            <p:nvPr/>
          </p:nvSpPr>
          <p:spPr>
            <a:xfrm>
              <a:off x="5146220" y="2869934"/>
              <a:ext cx="45719" cy="45719"/>
            </a:xfrm>
            <a:prstGeom prst="ellipse">
              <a:avLst/>
            </a:prstGeom>
            <a:solidFill>
              <a:srgbClr val="8DBB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grpSp>
        <p:nvGrpSpPr>
          <p:cNvPr id="44" name="Group 43">
            <a:extLst>
              <a:ext uri="{FF2B5EF4-FFF2-40B4-BE49-F238E27FC236}">
                <a16:creationId xmlns:a16="http://schemas.microsoft.com/office/drawing/2014/main" id="{7A17F6EE-0B76-5AF2-9304-CEB740825099}"/>
              </a:ext>
            </a:extLst>
          </p:cNvPr>
          <p:cNvGrpSpPr/>
          <p:nvPr/>
        </p:nvGrpSpPr>
        <p:grpSpPr>
          <a:xfrm>
            <a:off x="4194829" y="1629309"/>
            <a:ext cx="1899085" cy="4853943"/>
            <a:chOff x="4194829" y="1629309"/>
            <a:chExt cx="1899085" cy="4853943"/>
          </a:xfrm>
        </p:grpSpPr>
        <p:sp>
          <p:nvSpPr>
            <p:cNvPr id="120" name="Diamond 119">
              <a:extLst>
                <a:ext uri="{FF2B5EF4-FFF2-40B4-BE49-F238E27FC236}">
                  <a16:creationId xmlns:a16="http://schemas.microsoft.com/office/drawing/2014/main" id="{A4465D85-6729-6143-305E-9A247D913783}"/>
                </a:ext>
              </a:extLst>
            </p:cNvPr>
            <p:cNvSpPr/>
            <p:nvPr/>
          </p:nvSpPr>
          <p:spPr>
            <a:xfrm flipV="1">
              <a:off x="4194829" y="6422546"/>
              <a:ext cx="60706" cy="60706"/>
            </a:xfrm>
            <a:prstGeom prst="diamond">
              <a:avLst/>
            </a:prstGeom>
            <a:solidFill>
              <a:schemeClr val="accent6"/>
            </a:solidFill>
            <a:ln w="6350" cap="rnd">
              <a:solidFill>
                <a:srgbClr val="00B0F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Source Sans Pro"/>
                <a:ea typeface="+mn-ea"/>
                <a:cs typeface="+mn-cs"/>
              </a:endParaRPr>
            </a:p>
          </p:txBody>
        </p:sp>
        <p:sp>
          <p:nvSpPr>
            <p:cNvPr id="174" name="Oval 173">
              <a:extLst>
                <a:ext uri="{FF2B5EF4-FFF2-40B4-BE49-F238E27FC236}">
                  <a16:creationId xmlns:a16="http://schemas.microsoft.com/office/drawing/2014/main" id="{04FD7B8C-642A-3F7E-F3D3-86EA0EFADF6B}"/>
                </a:ext>
              </a:extLst>
            </p:cNvPr>
            <p:cNvSpPr/>
            <p:nvPr/>
          </p:nvSpPr>
          <p:spPr>
            <a:xfrm>
              <a:off x="4197530" y="3363964"/>
              <a:ext cx="45719" cy="45719"/>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nvGrpSpPr>
            <p:cNvPr id="43" name="Group 42">
              <a:extLst>
                <a:ext uri="{FF2B5EF4-FFF2-40B4-BE49-F238E27FC236}">
                  <a16:creationId xmlns:a16="http://schemas.microsoft.com/office/drawing/2014/main" id="{718DC6DD-7A08-A8EB-A9E6-5221F7256E36}"/>
                </a:ext>
              </a:extLst>
            </p:cNvPr>
            <p:cNvGrpSpPr/>
            <p:nvPr/>
          </p:nvGrpSpPr>
          <p:grpSpPr>
            <a:xfrm>
              <a:off x="4194829" y="1629309"/>
              <a:ext cx="1899085" cy="4808027"/>
              <a:chOff x="4194829" y="1629309"/>
              <a:chExt cx="1899085" cy="4808027"/>
            </a:xfrm>
          </p:grpSpPr>
          <p:sp>
            <p:nvSpPr>
              <p:cNvPr id="17" name="Arrow: Chevron 16">
                <a:extLst>
                  <a:ext uri="{FF2B5EF4-FFF2-40B4-BE49-F238E27FC236}">
                    <a16:creationId xmlns:a16="http://schemas.microsoft.com/office/drawing/2014/main" id="{2D0047FB-D545-34DB-928E-520D6B69F424}"/>
                  </a:ext>
                </a:extLst>
              </p:cNvPr>
              <p:cNvSpPr/>
              <p:nvPr/>
            </p:nvSpPr>
            <p:spPr>
              <a:xfrm>
                <a:off x="4223892" y="2897077"/>
                <a:ext cx="972379" cy="488950"/>
              </a:xfrm>
              <a:prstGeom prst="chevron">
                <a:avLst>
                  <a:gd name="adj" fmla="val 24672"/>
                </a:avLst>
              </a:prstGeom>
              <a:solidFill>
                <a:schemeClr val="bg1"/>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a:ln>
                      <a:noFill/>
                    </a:ln>
                    <a:solidFill>
                      <a:srgbClr val="00205C"/>
                    </a:solidFill>
                    <a:effectLst/>
                    <a:uLnTx/>
                    <a:uFillTx/>
                    <a:latin typeface="Source Sans Pro"/>
                    <a:ea typeface="+mn-ea"/>
                    <a:cs typeface="+mn-cs"/>
                  </a:rPr>
                  <a:t>H1 2024</a:t>
                </a:r>
              </a:p>
            </p:txBody>
          </p:sp>
          <p:sp>
            <p:nvSpPr>
              <p:cNvPr id="117" name="Rectangle 116">
                <a:extLst>
                  <a:ext uri="{FF2B5EF4-FFF2-40B4-BE49-F238E27FC236}">
                    <a16:creationId xmlns:a16="http://schemas.microsoft.com/office/drawing/2014/main" id="{78D58639-ED70-8BBC-488D-6CF28F2158BB}"/>
                  </a:ext>
                </a:extLst>
              </p:cNvPr>
              <p:cNvSpPr/>
              <p:nvPr/>
            </p:nvSpPr>
            <p:spPr>
              <a:xfrm rot="10800000" flipV="1">
                <a:off x="4229403" y="5673529"/>
                <a:ext cx="1864511" cy="7456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18" name="TextBox 117">
                <a:extLst>
                  <a:ext uri="{FF2B5EF4-FFF2-40B4-BE49-F238E27FC236}">
                    <a16:creationId xmlns:a16="http://schemas.microsoft.com/office/drawing/2014/main" id="{9FA63470-D0AE-230B-87D6-F2FCD3B09748}"/>
                  </a:ext>
                </a:extLst>
              </p:cNvPr>
              <p:cNvSpPr txBox="1"/>
              <p:nvPr/>
            </p:nvSpPr>
            <p:spPr>
              <a:xfrm rot="10800000" flipV="1">
                <a:off x="4330006" y="5812629"/>
                <a:ext cx="1595729" cy="484748"/>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Publication of WHO recommendations actioning new, impactful evidence</a:t>
                </a:r>
              </a:p>
            </p:txBody>
          </p:sp>
          <p:sp>
            <p:nvSpPr>
              <p:cNvPr id="80" name="Rectangle 79">
                <a:extLst>
                  <a:ext uri="{FF2B5EF4-FFF2-40B4-BE49-F238E27FC236}">
                    <a16:creationId xmlns:a16="http://schemas.microsoft.com/office/drawing/2014/main" id="{025D71EC-00D8-BCDD-03EE-71B3707A8A6E}"/>
                  </a:ext>
                </a:extLst>
              </p:cNvPr>
              <p:cNvSpPr/>
              <p:nvPr/>
            </p:nvSpPr>
            <p:spPr>
              <a:xfrm>
                <a:off x="4218176" y="1660436"/>
                <a:ext cx="1305617" cy="6886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24" name="TextBox 23">
                <a:extLst>
                  <a:ext uri="{FF2B5EF4-FFF2-40B4-BE49-F238E27FC236}">
                    <a16:creationId xmlns:a16="http://schemas.microsoft.com/office/drawing/2014/main" id="{2668D816-6438-49F1-3385-A1DB2AE45751}"/>
                  </a:ext>
                </a:extLst>
              </p:cNvPr>
              <p:cNvSpPr txBox="1"/>
              <p:nvPr/>
            </p:nvSpPr>
            <p:spPr>
              <a:xfrm>
                <a:off x="4330007" y="1773922"/>
                <a:ext cx="1067634" cy="48474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Source Sans Pro"/>
                    <a:ea typeface="+mn-ea"/>
                    <a:cs typeface="+mn-cs"/>
                  </a:rPr>
                  <a:t>Call for proposals to conduct top priority research</a:t>
                </a:r>
              </a:p>
            </p:txBody>
          </p:sp>
          <p:cxnSp>
            <p:nvCxnSpPr>
              <p:cNvPr id="27" name="Straight Connector 26">
                <a:extLst>
                  <a:ext uri="{FF2B5EF4-FFF2-40B4-BE49-F238E27FC236}">
                    <a16:creationId xmlns:a16="http://schemas.microsoft.com/office/drawing/2014/main" id="{E7EBBC06-F4D1-0DBF-157B-13AA6C71019E}"/>
                  </a:ext>
                </a:extLst>
              </p:cNvPr>
              <p:cNvCxnSpPr>
                <a:cxnSpLocks/>
              </p:cNvCxnSpPr>
              <p:nvPr/>
            </p:nvCxnSpPr>
            <p:spPr>
              <a:xfrm>
                <a:off x="4223599" y="1660436"/>
                <a:ext cx="0" cy="1231561"/>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1" name="Diamond 100">
                <a:extLst>
                  <a:ext uri="{FF2B5EF4-FFF2-40B4-BE49-F238E27FC236}">
                    <a16:creationId xmlns:a16="http://schemas.microsoft.com/office/drawing/2014/main" id="{F32CFCDB-F501-C2F6-25A5-659D81430217}"/>
                  </a:ext>
                </a:extLst>
              </p:cNvPr>
              <p:cNvSpPr/>
              <p:nvPr/>
            </p:nvSpPr>
            <p:spPr>
              <a:xfrm>
                <a:off x="4194829" y="1629309"/>
                <a:ext cx="60706" cy="60706"/>
              </a:xfrm>
              <a:prstGeom prst="diamond">
                <a:avLst/>
              </a:prstGeom>
              <a:solidFill>
                <a:srgbClr val="A7208D"/>
              </a:solidFill>
              <a:ln w="6350" cap="rnd">
                <a:solidFill>
                  <a:srgbClr val="A7208D"/>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Source Sans Pro"/>
                  <a:ea typeface="+mn-ea"/>
                  <a:cs typeface="+mn-cs"/>
                </a:endParaRPr>
              </a:p>
            </p:txBody>
          </p:sp>
          <p:cxnSp>
            <p:nvCxnSpPr>
              <p:cNvPr id="119" name="Straight Connector 118">
                <a:extLst>
                  <a:ext uri="{FF2B5EF4-FFF2-40B4-BE49-F238E27FC236}">
                    <a16:creationId xmlns:a16="http://schemas.microsoft.com/office/drawing/2014/main" id="{FB637A65-94AC-9C3C-D3CF-C02F18A65BFD}"/>
                  </a:ext>
                </a:extLst>
              </p:cNvPr>
              <p:cNvCxnSpPr>
                <a:cxnSpLocks/>
              </p:cNvCxnSpPr>
              <p:nvPr/>
            </p:nvCxnSpPr>
            <p:spPr>
              <a:xfrm flipV="1">
                <a:off x="4223277" y="3386027"/>
                <a:ext cx="0" cy="3051309"/>
              </a:xfrm>
              <a:prstGeom prst="line">
                <a:avLst/>
              </a:prstGeom>
              <a:ln w="15875">
                <a:solidFill>
                  <a:srgbClr val="00B0F0"/>
                </a:solidFill>
              </a:ln>
            </p:spPr>
            <p:style>
              <a:lnRef idx="1">
                <a:schemeClr val="accent1"/>
              </a:lnRef>
              <a:fillRef idx="0">
                <a:schemeClr val="accent1"/>
              </a:fillRef>
              <a:effectRef idx="0">
                <a:schemeClr val="accent1"/>
              </a:effectRef>
              <a:fontRef idx="minor">
                <a:schemeClr val="tx1"/>
              </a:fontRef>
            </p:style>
          </p:cxnSp>
          <p:sp>
            <p:nvSpPr>
              <p:cNvPr id="173" name="Oval 172">
                <a:extLst>
                  <a:ext uri="{FF2B5EF4-FFF2-40B4-BE49-F238E27FC236}">
                    <a16:creationId xmlns:a16="http://schemas.microsoft.com/office/drawing/2014/main" id="{CF4A14B3-20F2-5D4B-2F10-33A0198F6C11}"/>
                  </a:ext>
                </a:extLst>
              </p:cNvPr>
              <p:cNvSpPr/>
              <p:nvPr/>
            </p:nvSpPr>
            <p:spPr>
              <a:xfrm>
                <a:off x="4197530" y="2869934"/>
                <a:ext cx="45719" cy="45719"/>
              </a:xfrm>
              <a:prstGeom prst="ellipse">
                <a:avLst/>
              </a:prstGeom>
              <a:solidFill>
                <a:srgbClr val="A720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grpSp>
      </p:grpSp>
    </p:spTree>
    <p:extLst>
      <p:ext uri="{BB962C8B-B14F-4D97-AF65-F5344CB8AC3E}">
        <p14:creationId xmlns:p14="http://schemas.microsoft.com/office/powerpoint/2010/main" val="1145069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500"/>
                                        <p:tgtEl>
                                          <p:spTgt spid="4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500"/>
                                        <p:tgtEl>
                                          <p:spTgt spid="4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38"/>
                                        </p:tgtEl>
                                        <p:attrNameLst>
                                          <p:attrName>style.visibility</p:attrName>
                                        </p:attrNameLst>
                                      </p:cBhvr>
                                      <p:to>
                                        <p:strVal val="visible"/>
                                      </p:to>
                                    </p:set>
                                    <p:animEffect transition="in" filter="fade">
                                      <p:cBhvr>
                                        <p:cTn id="35" dur="500"/>
                                        <p:tgtEl>
                                          <p:spTgt spid="13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47"/>
                                        </p:tgtEl>
                                        <p:attrNameLst>
                                          <p:attrName>style.visibility</p:attrName>
                                        </p:attrNameLst>
                                      </p:cBhvr>
                                      <p:to>
                                        <p:strVal val="visible"/>
                                      </p:to>
                                    </p:set>
                                    <p:animEffect transition="in" filter="fade">
                                      <p:cBhvr>
                                        <p:cTn id="40" dur="500"/>
                                        <p:tgtEl>
                                          <p:spTgt spid="47"/>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48"/>
                                        </p:tgtEl>
                                        <p:attrNameLst>
                                          <p:attrName>style.visibility</p:attrName>
                                        </p:attrNameLst>
                                      </p:cBhvr>
                                      <p:to>
                                        <p:strVal val="visible"/>
                                      </p:to>
                                    </p:set>
                                    <p:animEffect transition="in" filter="fade">
                                      <p:cBhvr>
                                        <p:cTn id="45" dur="500"/>
                                        <p:tgtEl>
                                          <p:spTgt spid="48"/>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49"/>
                                        </p:tgtEl>
                                        <p:attrNameLst>
                                          <p:attrName>style.visibility</p:attrName>
                                        </p:attrNameLst>
                                      </p:cBhvr>
                                      <p:to>
                                        <p:strVal val="visible"/>
                                      </p:to>
                                    </p:set>
                                    <p:animEffect transition="in" filter="fade">
                                      <p:cBhvr>
                                        <p:cTn id="55" dur="500"/>
                                        <p:tgtEl>
                                          <p:spTgt spid="49"/>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50"/>
                                        </p:tgtEl>
                                        <p:attrNameLst>
                                          <p:attrName>style.visibility</p:attrName>
                                        </p:attrNameLst>
                                      </p:cBhvr>
                                      <p:to>
                                        <p:strVal val="visible"/>
                                      </p:to>
                                    </p:set>
                                    <p:animEffect transition="in" filter="fade">
                                      <p:cBhvr>
                                        <p:cTn id="6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5" grpId="0" animBg="1"/>
      <p:bldP spid="13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595247-77D1-5F9C-FEEC-B9036D7499FA}"/>
              </a:ext>
            </a:extLst>
          </p:cNvPr>
          <p:cNvSpPr>
            <a:spLocks noGrp="1"/>
          </p:cNvSpPr>
          <p:nvPr>
            <p:ph type="title"/>
          </p:nvPr>
        </p:nvSpPr>
        <p:spPr/>
        <p:txBody>
          <a:bodyPr/>
          <a:lstStyle/>
          <a:p>
            <a:r>
              <a:rPr lang="en-US" sz="4000" dirty="0"/>
              <a:t>Since the soft launch of the Roadmap at IMNHC, several partners have made important commitments</a:t>
            </a:r>
          </a:p>
        </p:txBody>
      </p:sp>
      <p:sp>
        <p:nvSpPr>
          <p:cNvPr id="4" name="TextBox 3">
            <a:extLst>
              <a:ext uri="{FF2B5EF4-FFF2-40B4-BE49-F238E27FC236}">
                <a16:creationId xmlns:a16="http://schemas.microsoft.com/office/drawing/2014/main" id="{9C750B95-1B4C-38C8-34D5-FABD0E63F5F0}"/>
              </a:ext>
            </a:extLst>
          </p:cNvPr>
          <p:cNvSpPr txBox="1"/>
          <p:nvPr/>
        </p:nvSpPr>
        <p:spPr>
          <a:xfrm>
            <a:off x="6217920" y="609600"/>
            <a:ext cx="5659120" cy="55981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nSpc>
                <a:spcPct val="114000"/>
              </a:lnSpc>
              <a:buFont typeface="Arial" panose="020B0604020202020204" pitchFamily="34" charset="0"/>
              <a:buChar char="•"/>
            </a:pPr>
            <a:r>
              <a:rPr lang="en-US" b="1" dirty="0">
                <a:solidFill>
                  <a:srgbClr val="262626"/>
                </a:solidFill>
              </a:rPr>
              <a:t>FIGO </a:t>
            </a:r>
            <a:r>
              <a:rPr lang="en-US" dirty="0">
                <a:solidFill>
                  <a:srgbClr val="262626"/>
                </a:solidFill>
              </a:rPr>
              <a:t>and</a:t>
            </a:r>
            <a:r>
              <a:rPr lang="en-US" b="1" dirty="0">
                <a:solidFill>
                  <a:srgbClr val="262626"/>
                </a:solidFill>
              </a:rPr>
              <a:t> ICM </a:t>
            </a:r>
            <a:r>
              <a:rPr lang="en-US" dirty="0">
                <a:solidFill>
                  <a:srgbClr val="262626"/>
                </a:solidFill>
              </a:rPr>
              <a:t>have committed to working with WHO to develop a joint, consolidated PPH guideline</a:t>
            </a:r>
          </a:p>
          <a:p>
            <a:pPr marL="285750" indent="-285750">
              <a:lnSpc>
                <a:spcPct val="114000"/>
              </a:lnSpc>
              <a:buFont typeface="Arial" panose="020B0604020202020204" pitchFamily="34" charset="0"/>
              <a:buChar char="•"/>
            </a:pPr>
            <a:r>
              <a:rPr lang="en-US" b="1" dirty="0">
                <a:solidFill>
                  <a:srgbClr val="262626"/>
                </a:solidFill>
              </a:rPr>
              <a:t>USAID</a:t>
            </a:r>
            <a:r>
              <a:rPr lang="en-US" dirty="0">
                <a:solidFill>
                  <a:srgbClr val="262626"/>
                </a:solidFill>
              </a:rPr>
              <a:t> has committed to fund the development of the WHO-FIGO-ICM joint, consolidated PPH guideline</a:t>
            </a:r>
          </a:p>
          <a:p>
            <a:pPr marL="285750" indent="-285750">
              <a:lnSpc>
                <a:spcPct val="114000"/>
              </a:lnSpc>
              <a:buFont typeface="Arial" panose="020B0604020202020204" pitchFamily="34" charset="0"/>
              <a:buChar char="•"/>
            </a:pPr>
            <a:r>
              <a:rPr lang="en-US" b="1" dirty="0">
                <a:solidFill>
                  <a:srgbClr val="262626"/>
                </a:solidFill>
              </a:rPr>
              <a:t>Jhpiego</a:t>
            </a:r>
            <a:r>
              <a:rPr lang="en-US" dirty="0">
                <a:solidFill>
                  <a:srgbClr val="262626"/>
                </a:solidFill>
              </a:rPr>
              <a:t> and </a:t>
            </a:r>
            <a:r>
              <a:rPr lang="en-US" b="1" dirty="0">
                <a:solidFill>
                  <a:srgbClr val="262626"/>
                </a:solidFill>
              </a:rPr>
              <a:t>Laerdal Global Health </a:t>
            </a:r>
            <a:r>
              <a:rPr lang="en-US" dirty="0">
                <a:solidFill>
                  <a:srgbClr val="262626"/>
                </a:solidFill>
              </a:rPr>
              <a:t>have committed to developing training, job aids, and other implementation support materials to drive in-country implementation of the WHO-FIGO-ICM joint, consolidated PPH guideline</a:t>
            </a:r>
          </a:p>
          <a:p>
            <a:pPr marL="285750" indent="-285750">
              <a:lnSpc>
                <a:spcPct val="114000"/>
              </a:lnSpc>
              <a:buFont typeface="Arial" panose="020B0604020202020204" pitchFamily="34" charset="0"/>
              <a:buChar char="•"/>
            </a:pPr>
            <a:r>
              <a:rPr lang="en-US" b="1" dirty="0">
                <a:solidFill>
                  <a:srgbClr val="262626"/>
                </a:solidFill>
              </a:rPr>
              <a:t>RHSC </a:t>
            </a:r>
            <a:r>
              <a:rPr lang="en-US" dirty="0">
                <a:solidFill>
                  <a:srgbClr val="262626"/>
                </a:solidFill>
              </a:rPr>
              <a:t>and </a:t>
            </a:r>
            <a:r>
              <a:rPr lang="en-US" b="1" dirty="0">
                <a:solidFill>
                  <a:srgbClr val="262626"/>
                </a:solidFill>
              </a:rPr>
              <a:t>Monash</a:t>
            </a:r>
            <a:r>
              <a:rPr lang="en-US" dirty="0">
                <a:solidFill>
                  <a:srgbClr val="262626"/>
                </a:solidFill>
              </a:rPr>
              <a:t> have committed to supporting efforts to enhance procurement of and access to quality PPH commodities</a:t>
            </a:r>
          </a:p>
          <a:p>
            <a:pPr marL="285750" indent="-285750">
              <a:lnSpc>
                <a:spcPct val="114000"/>
              </a:lnSpc>
              <a:buFont typeface="Arial" panose="020B0604020202020204" pitchFamily="34" charset="0"/>
              <a:buChar char="•"/>
            </a:pPr>
            <a:r>
              <a:rPr lang="en-US" b="1" dirty="0">
                <a:solidFill>
                  <a:srgbClr val="262626"/>
                </a:solidFill>
              </a:rPr>
              <a:t>USAID</a:t>
            </a:r>
            <a:r>
              <a:rPr lang="en-US" dirty="0">
                <a:solidFill>
                  <a:srgbClr val="262626"/>
                </a:solidFill>
              </a:rPr>
              <a:t> has committed to using its supply chain work to strengthen access to PPH commodities and to working with policymakers to include TXA in EMLs</a:t>
            </a:r>
          </a:p>
          <a:p>
            <a:pPr marL="285750" indent="-285750">
              <a:lnSpc>
                <a:spcPct val="114000"/>
              </a:lnSpc>
              <a:buFont typeface="Arial" panose="020B0604020202020204" pitchFamily="34" charset="0"/>
              <a:buChar char="•"/>
            </a:pPr>
            <a:r>
              <a:rPr lang="en-US" b="1" dirty="0">
                <a:solidFill>
                  <a:srgbClr val="262626"/>
                </a:solidFill>
              </a:rPr>
              <a:t>AOFOG </a:t>
            </a:r>
            <a:r>
              <a:rPr lang="en-US" dirty="0">
                <a:solidFill>
                  <a:srgbClr val="262626"/>
                </a:solidFill>
              </a:rPr>
              <a:t> has committed to facilitating country access to low-cost heat-stable </a:t>
            </a:r>
            <a:r>
              <a:rPr lang="en-US" dirty="0" err="1">
                <a:solidFill>
                  <a:srgbClr val="262626"/>
                </a:solidFill>
              </a:rPr>
              <a:t>carbetocin</a:t>
            </a:r>
            <a:r>
              <a:rPr lang="en-US" dirty="0">
                <a:solidFill>
                  <a:srgbClr val="262626"/>
                </a:solidFill>
              </a:rPr>
              <a:t> in Asia and Oceania</a:t>
            </a:r>
            <a:endParaRPr lang="en-US" b="1" dirty="0">
              <a:solidFill>
                <a:srgbClr val="262626"/>
              </a:solidFill>
            </a:endParaRPr>
          </a:p>
          <a:p>
            <a:pPr marL="285750" indent="-285750">
              <a:lnSpc>
                <a:spcPct val="114000"/>
              </a:lnSpc>
              <a:buFont typeface="Arial" panose="020B0604020202020204" pitchFamily="34" charset="0"/>
              <a:buChar char="•"/>
            </a:pPr>
            <a:r>
              <a:rPr lang="en-US" b="1" dirty="0">
                <a:solidFill>
                  <a:srgbClr val="262626"/>
                </a:solidFill>
              </a:rPr>
              <a:t>RHSC</a:t>
            </a:r>
            <a:r>
              <a:rPr lang="en-US" dirty="0">
                <a:solidFill>
                  <a:srgbClr val="262626"/>
                </a:solidFill>
              </a:rPr>
              <a:t> and </a:t>
            </a:r>
            <a:r>
              <a:rPr lang="en-US" b="1" dirty="0">
                <a:solidFill>
                  <a:srgbClr val="262626"/>
                </a:solidFill>
              </a:rPr>
              <a:t>PPH CoP</a:t>
            </a:r>
            <a:r>
              <a:rPr lang="en-US" dirty="0">
                <a:solidFill>
                  <a:srgbClr val="262626"/>
                </a:solidFill>
              </a:rPr>
              <a:t> have committed to supporting advocacy efforts and working with policymakers</a:t>
            </a:r>
          </a:p>
          <a:p>
            <a:pPr marL="285750" indent="-285750">
              <a:buFont typeface="Arial" panose="020B0604020202020204" pitchFamily="34" charset="0"/>
              <a:buChar char="•"/>
            </a:pPr>
            <a:endParaRPr lang="en-US" dirty="0">
              <a:solidFill>
                <a:srgbClr val="262626"/>
              </a:solidFill>
            </a:endParaRPr>
          </a:p>
        </p:txBody>
      </p:sp>
    </p:spTree>
    <p:extLst>
      <p:ext uri="{BB962C8B-B14F-4D97-AF65-F5344CB8AC3E}">
        <p14:creationId xmlns:p14="http://schemas.microsoft.com/office/powerpoint/2010/main" val="3455301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FCF2C-D719-D44E-3DAA-88408CCE2A65}"/>
              </a:ext>
            </a:extLst>
          </p:cNvPr>
          <p:cNvSpPr>
            <a:spLocks noGrp="1"/>
          </p:cNvSpPr>
          <p:nvPr>
            <p:ph type="title"/>
          </p:nvPr>
        </p:nvSpPr>
        <p:spPr/>
        <p:txBody>
          <a:bodyPr/>
          <a:lstStyle/>
          <a:p>
            <a:r>
              <a:rPr lang="en-US" dirty="0"/>
              <a:t>In addition, WHO has already begun to make progress against its commitments</a:t>
            </a:r>
          </a:p>
        </p:txBody>
      </p:sp>
      <p:sp>
        <p:nvSpPr>
          <p:cNvPr id="3" name="TextBox 2">
            <a:extLst>
              <a:ext uri="{FF2B5EF4-FFF2-40B4-BE49-F238E27FC236}">
                <a16:creationId xmlns:a16="http://schemas.microsoft.com/office/drawing/2014/main" id="{4D0E40D9-F0D6-F51D-9013-E36FA9652860}"/>
              </a:ext>
            </a:extLst>
          </p:cNvPr>
          <p:cNvSpPr txBox="1"/>
          <p:nvPr/>
        </p:nvSpPr>
        <p:spPr>
          <a:xfrm>
            <a:off x="5772150" y="629920"/>
            <a:ext cx="5876290" cy="559816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spcAft>
                <a:spcPts val="1000"/>
              </a:spcAft>
              <a:buFont typeface="Arial" panose="020B0604020202020204" pitchFamily="34" charset="0"/>
              <a:buChar char="•"/>
            </a:pPr>
            <a:r>
              <a:rPr lang="en-US" sz="2000" dirty="0">
                <a:solidFill>
                  <a:srgbClr val="262626"/>
                </a:solidFill>
              </a:rPr>
              <a:t>Meeting with partners to solidify commitments against the Roadmap and determine roles and responsibilities</a:t>
            </a:r>
          </a:p>
          <a:p>
            <a:pPr marL="285750" indent="-285750">
              <a:spcAft>
                <a:spcPts val="1000"/>
              </a:spcAft>
              <a:buFont typeface="Arial" panose="020B0604020202020204" pitchFamily="34" charset="0"/>
              <a:buChar char="•"/>
            </a:pPr>
            <a:r>
              <a:rPr lang="en-US" sz="2000" dirty="0">
                <a:solidFill>
                  <a:srgbClr val="262626"/>
                </a:solidFill>
              </a:rPr>
              <a:t>Scoping existing funded research currently underway related to the 15 top priority research questions</a:t>
            </a:r>
          </a:p>
          <a:p>
            <a:pPr marL="285750" indent="-285750">
              <a:spcAft>
                <a:spcPts val="1000"/>
              </a:spcAft>
              <a:buFont typeface="Arial" panose="020B0604020202020204" pitchFamily="34" charset="0"/>
              <a:buChar char="•"/>
            </a:pPr>
            <a:r>
              <a:rPr lang="en-US" sz="2000" dirty="0">
                <a:solidFill>
                  <a:srgbClr val="262626"/>
                </a:solidFill>
              </a:rPr>
              <a:t>Developing Target Policy Profiles to indicate how research evidence responding to each of the priority research questions can be translated into global guidance</a:t>
            </a:r>
          </a:p>
          <a:p>
            <a:pPr marL="285750" indent="-285750">
              <a:spcAft>
                <a:spcPts val="1000"/>
              </a:spcAft>
              <a:buFont typeface="Arial" panose="020B0604020202020204" pitchFamily="34" charset="0"/>
              <a:buChar char="•"/>
            </a:pPr>
            <a:r>
              <a:rPr lang="en-US" sz="2000" dirty="0">
                <a:solidFill>
                  <a:srgbClr val="262626"/>
                </a:solidFill>
              </a:rPr>
              <a:t>Identifying the potential scope of the WHO-FIGO-ICM joint, consolidated PPH guideline and underpinning evidence bases for potential recommendations, in preparation for meeting of the WHO Technical Advisory Group for Maternal and Perinatal Health Guidelines before end of 2023</a:t>
            </a:r>
          </a:p>
        </p:txBody>
      </p:sp>
    </p:spTree>
    <p:extLst>
      <p:ext uri="{BB962C8B-B14F-4D97-AF65-F5344CB8AC3E}">
        <p14:creationId xmlns:p14="http://schemas.microsoft.com/office/powerpoint/2010/main" val="1316252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809190-625B-C620-95FF-C755D0B166E8}"/>
              </a:ext>
            </a:extLst>
          </p:cNvPr>
          <p:cNvSpPr>
            <a:spLocks noGrp="1"/>
          </p:cNvSpPr>
          <p:nvPr>
            <p:ph type="title"/>
          </p:nvPr>
        </p:nvSpPr>
        <p:spPr>
          <a:xfrm>
            <a:off x="630000" y="622800"/>
            <a:ext cx="6526624" cy="332399"/>
          </a:xfrm>
        </p:spPr>
        <p:txBody>
          <a:bodyPr/>
          <a:lstStyle/>
          <a:p>
            <a:r>
              <a:rPr lang="en-US" dirty="0"/>
              <a:t>Communications and Dissemination Strategy</a:t>
            </a:r>
          </a:p>
        </p:txBody>
      </p:sp>
      <p:pic>
        <p:nvPicPr>
          <p:cNvPr id="4" name="Picture 3">
            <a:extLst>
              <a:ext uri="{FF2B5EF4-FFF2-40B4-BE49-F238E27FC236}">
                <a16:creationId xmlns:a16="http://schemas.microsoft.com/office/drawing/2014/main" id="{1FFEFE4F-888F-2426-4D52-37D4988D4E2B}"/>
              </a:ext>
            </a:extLst>
          </p:cNvPr>
          <p:cNvPicPr>
            <a:picLocks noChangeAspect="1"/>
          </p:cNvPicPr>
          <p:nvPr/>
        </p:nvPicPr>
        <p:blipFill>
          <a:blip r:embed="rId2"/>
          <a:stretch>
            <a:fillRect/>
          </a:stretch>
        </p:blipFill>
        <p:spPr>
          <a:xfrm>
            <a:off x="8803794" y="1273931"/>
            <a:ext cx="2758206" cy="3905818"/>
          </a:xfrm>
          <a:prstGeom prst="rect">
            <a:avLst/>
          </a:prstGeom>
          <a:ln>
            <a:solidFill>
              <a:schemeClr val="bg1"/>
            </a:solidFill>
          </a:ln>
        </p:spPr>
      </p:pic>
      <p:pic>
        <p:nvPicPr>
          <p:cNvPr id="1026" name="Picture 2" descr="IMNHC 2023 - AlignMNH">
            <a:extLst>
              <a:ext uri="{FF2B5EF4-FFF2-40B4-BE49-F238E27FC236}">
                <a16:creationId xmlns:a16="http://schemas.microsoft.com/office/drawing/2014/main" id="{0FF6C301-911A-8131-78BC-AD33E10E724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8583"/>
          <a:stretch/>
        </p:blipFill>
        <p:spPr bwMode="auto">
          <a:xfrm>
            <a:off x="808233" y="1516698"/>
            <a:ext cx="2053387" cy="106710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58E21004-51CC-0589-8A51-BE1D194E787C}"/>
              </a:ext>
            </a:extLst>
          </p:cNvPr>
          <p:cNvSpPr txBox="1"/>
          <p:nvPr/>
        </p:nvSpPr>
        <p:spPr>
          <a:xfrm>
            <a:off x="3249929" y="1928124"/>
            <a:ext cx="4053840" cy="5384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lang="en-US" dirty="0">
                <a:solidFill>
                  <a:schemeClr val="tx2"/>
                </a:solidFill>
              </a:rPr>
              <a:t>Soft launch at IMNHC in May 2023</a:t>
            </a:r>
          </a:p>
        </p:txBody>
      </p:sp>
      <p:sp>
        <p:nvSpPr>
          <p:cNvPr id="6" name="TextBox 5">
            <a:extLst>
              <a:ext uri="{FF2B5EF4-FFF2-40B4-BE49-F238E27FC236}">
                <a16:creationId xmlns:a16="http://schemas.microsoft.com/office/drawing/2014/main" id="{73E8C491-AEBD-8394-FC9B-1FA792DCB84C}"/>
              </a:ext>
            </a:extLst>
          </p:cNvPr>
          <p:cNvSpPr txBox="1"/>
          <p:nvPr/>
        </p:nvSpPr>
        <p:spPr>
          <a:xfrm>
            <a:off x="3065232" y="3226840"/>
            <a:ext cx="4128944" cy="14304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dirty="0">
                <a:solidFill>
                  <a:schemeClr val="tx2"/>
                </a:solidFill>
              </a:rPr>
              <a:t>Official publication by WHO and public release at FIGO World Congress in October 2023 </a:t>
            </a:r>
          </a:p>
          <a:p>
            <a:endParaRPr lang="en-US" dirty="0">
              <a:solidFill>
                <a:schemeClr val="tx2"/>
              </a:solidFill>
            </a:endParaRPr>
          </a:p>
          <a:p>
            <a:r>
              <a:rPr lang="en-US" dirty="0">
                <a:solidFill>
                  <a:schemeClr val="tx2"/>
                </a:solidFill>
              </a:rPr>
              <a:t>Launch of online accountability platform</a:t>
            </a:r>
          </a:p>
          <a:p>
            <a:endParaRPr lang="en-US" dirty="0">
              <a:solidFill>
                <a:schemeClr val="tx2"/>
              </a:solidFill>
            </a:endParaRPr>
          </a:p>
          <a:p>
            <a:endParaRPr lang="en-US" dirty="0">
              <a:solidFill>
                <a:schemeClr val="tx2"/>
              </a:solidFill>
            </a:endParaRPr>
          </a:p>
          <a:p>
            <a:r>
              <a:rPr lang="en-US" dirty="0">
                <a:solidFill>
                  <a:schemeClr val="tx2"/>
                </a:solidFill>
              </a:rPr>
              <a:t>Additional dissemination through WHO Regional Offices and at upcoming conferences and events</a:t>
            </a:r>
          </a:p>
        </p:txBody>
      </p:sp>
      <p:sp>
        <p:nvSpPr>
          <p:cNvPr id="7" name="TextBox 6">
            <a:extLst>
              <a:ext uri="{FF2B5EF4-FFF2-40B4-BE49-F238E27FC236}">
                <a16:creationId xmlns:a16="http://schemas.microsoft.com/office/drawing/2014/main" id="{D1644CA1-3110-DBAA-8228-EB14D1C6A704}"/>
              </a:ext>
            </a:extLst>
          </p:cNvPr>
          <p:cNvSpPr txBox="1"/>
          <p:nvPr/>
        </p:nvSpPr>
        <p:spPr>
          <a:xfrm>
            <a:off x="5638800" y="302768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s-AR" dirty="0" err="1">
              <a:solidFill>
                <a:srgbClr val="262626"/>
              </a:solidFill>
            </a:endParaRPr>
          </a:p>
        </p:txBody>
      </p:sp>
      <p:sp>
        <p:nvSpPr>
          <p:cNvPr id="8" name="TextBox 7">
            <a:extLst>
              <a:ext uri="{FF2B5EF4-FFF2-40B4-BE49-F238E27FC236}">
                <a16:creationId xmlns:a16="http://schemas.microsoft.com/office/drawing/2014/main" id="{03EA5CBA-7E7A-6CA1-B06B-24E4BDCEA327}"/>
              </a:ext>
            </a:extLst>
          </p:cNvPr>
          <p:cNvSpPr txBox="1"/>
          <p:nvPr/>
        </p:nvSpPr>
        <p:spPr>
          <a:xfrm>
            <a:off x="5760720" y="4003040"/>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s-AR" dirty="0" err="1">
              <a:solidFill>
                <a:srgbClr val="262626"/>
              </a:solidFill>
            </a:endParaRPr>
          </a:p>
        </p:txBody>
      </p:sp>
      <p:pic>
        <p:nvPicPr>
          <p:cNvPr id="1028" name="Picture 4" descr="Events Archive - EBCOG">
            <a:extLst>
              <a:ext uri="{FF2B5EF4-FFF2-40B4-BE49-F238E27FC236}">
                <a16:creationId xmlns:a16="http://schemas.microsoft.com/office/drawing/2014/main" id="{536E25A6-229F-0859-489D-8BD77BDB6D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8233" y="3303101"/>
            <a:ext cx="2053387" cy="1157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9333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0CC57B3-0846-0C4F-2EB6-0F77B9EAA311}"/>
              </a:ext>
            </a:extLst>
          </p:cNvPr>
          <p:cNvGraphicFramePr>
            <a:graphicFrameLocks noChangeAspect="1"/>
          </p:cNvGraphicFramePr>
          <p:nvPr>
            <p:custDataLst>
              <p:tags r:id="rId1"/>
            </p:custDataLst>
            <p:extLst>
              <p:ext uri="{D42A27DB-BD31-4B8C-83A1-F6EECF244321}">
                <p14:modId xmlns:p14="http://schemas.microsoft.com/office/powerpoint/2010/main" val="348932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Object 4" hidden="1">
                        <a:extLst>
                          <a:ext uri="{FF2B5EF4-FFF2-40B4-BE49-F238E27FC236}">
                            <a16:creationId xmlns:a16="http://schemas.microsoft.com/office/drawing/2014/main" id="{10CC57B3-0846-0C4F-2EB6-0F77B9EAA3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86A8DB-3410-D34C-D340-5CFDD742F1BC}"/>
              </a:ext>
            </a:extLst>
          </p:cNvPr>
          <p:cNvSpPr>
            <a:spLocks noGrp="1"/>
          </p:cNvSpPr>
          <p:nvPr>
            <p:ph type="title"/>
          </p:nvPr>
        </p:nvSpPr>
        <p:spPr>
          <a:xfrm>
            <a:off x="630000" y="2681103"/>
            <a:ext cx="2841391" cy="1495794"/>
          </a:xfrm>
        </p:spPr>
        <p:txBody>
          <a:bodyPr vert="horz"/>
          <a:lstStyle/>
          <a:p>
            <a:r>
              <a:rPr lang="en-US" b="1" dirty="0"/>
              <a:t>Global Call-to-Action </a:t>
            </a:r>
            <a:br>
              <a:rPr lang="en-US" b="1" dirty="0"/>
            </a:br>
            <a:r>
              <a:rPr lang="en-US" dirty="0"/>
              <a:t>targeting</a:t>
            </a:r>
            <a:r>
              <a:rPr lang="en-US" b="1" dirty="0"/>
              <a:t> 9</a:t>
            </a:r>
            <a:r>
              <a:rPr lang="en-US" dirty="0"/>
              <a:t> categories of stakeholders </a:t>
            </a:r>
          </a:p>
        </p:txBody>
      </p:sp>
      <p:sp>
        <p:nvSpPr>
          <p:cNvPr id="9" name="Freeform 99">
            <a:extLst>
              <a:ext uri="{FF2B5EF4-FFF2-40B4-BE49-F238E27FC236}">
                <a16:creationId xmlns:a16="http://schemas.microsoft.com/office/drawing/2014/main" id="{1BD3CE26-B9B9-0924-FC5D-58944280CCAA}"/>
              </a:ext>
            </a:extLst>
          </p:cNvPr>
          <p:cNvSpPr/>
          <p:nvPr/>
        </p:nvSpPr>
        <p:spPr>
          <a:xfrm rot="10800000" flipV="1">
            <a:off x="7114039" y="193081"/>
            <a:ext cx="1983371" cy="2997295"/>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rgbClr val="E6F3F7"/>
          </a:solidFill>
          <a:ln w="3810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a:solidFill>
                <a:srgbClr val="575757"/>
              </a:solidFill>
              <a:cs typeface="Arial" pitchFamily="34" charset="0"/>
            </a:endParaRPr>
          </a:p>
        </p:txBody>
      </p:sp>
      <p:sp>
        <p:nvSpPr>
          <p:cNvPr id="10" name="Freeform 99">
            <a:extLst>
              <a:ext uri="{FF2B5EF4-FFF2-40B4-BE49-F238E27FC236}">
                <a16:creationId xmlns:a16="http://schemas.microsoft.com/office/drawing/2014/main" id="{9220E002-3960-5DFF-1243-98A525EF7A87}"/>
              </a:ext>
            </a:extLst>
          </p:cNvPr>
          <p:cNvSpPr/>
          <p:nvPr/>
        </p:nvSpPr>
        <p:spPr>
          <a:xfrm rot="13500000" flipV="1">
            <a:off x="8166117" y="628866"/>
            <a:ext cx="1983371" cy="2997295"/>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rgbClr val="C4CBDA"/>
          </a:solidFill>
          <a:ln w="3810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a:solidFill>
                <a:srgbClr val="575757"/>
              </a:solidFill>
              <a:cs typeface="Arial" pitchFamily="34" charset="0"/>
            </a:endParaRPr>
          </a:p>
        </p:txBody>
      </p:sp>
      <p:sp>
        <p:nvSpPr>
          <p:cNvPr id="11" name="Freeform 99">
            <a:extLst>
              <a:ext uri="{FF2B5EF4-FFF2-40B4-BE49-F238E27FC236}">
                <a16:creationId xmlns:a16="http://schemas.microsoft.com/office/drawing/2014/main" id="{8B01335A-93CD-3546-6FE4-938A4D0C0964}"/>
              </a:ext>
            </a:extLst>
          </p:cNvPr>
          <p:cNvSpPr/>
          <p:nvPr/>
        </p:nvSpPr>
        <p:spPr>
          <a:xfrm rot="16200000" flipV="1">
            <a:off x="8601902" y="1680943"/>
            <a:ext cx="1983371" cy="2997295"/>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rgbClr val="A6B1C8"/>
          </a:solidFill>
          <a:ln w="3810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a:solidFill>
                <a:srgbClr val="575757"/>
              </a:solidFill>
              <a:cs typeface="Arial" pitchFamily="34" charset="0"/>
            </a:endParaRPr>
          </a:p>
        </p:txBody>
      </p:sp>
      <p:sp>
        <p:nvSpPr>
          <p:cNvPr id="12" name="Freeform 99">
            <a:extLst>
              <a:ext uri="{FF2B5EF4-FFF2-40B4-BE49-F238E27FC236}">
                <a16:creationId xmlns:a16="http://schemas.microsoft.com/office/drawing/2014/main" id="{02A1FE46-03A6-0643-8CBA-5E37E0F6DEB4}"/>
              </a:ext>
            </a:extLst>
          </p:cNvPr>
          <p:cNvSpPr/>
          <p:nvPr/>
        </p:nvSpPr>
        <p:spPr>
          <a:xfrm rot="18900000" flipV="1">
            <a:off x="8166117" y="2733021"/>
            <a:ext cx="1983371" cy="2997295"/>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rgbClr val="A6ADBA"/>
          </a:solidFill>
          <a:ln w="3810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a:solidFill>
                <a:srgbClr val="575757"/>
              </a:solidFill>
              <a:cs typeface="Arial" pitchFamily="34" charset="0"/>
            </a:endParaRPr>
          </a:p>
        </p:txBody>
      </p:sp>
      <p:sp>
        <p:nvSpPr>
          <p:cNvPr id="13" name="Freeform 99">
            <a:extLst>
              <a:ext uri="{FF2B5EF4-FFF2-40B4-BE49-F238E27FC236}">
                <a16:creationId xmlns:a16="http://schemas.microsoft.com/office/drawing/2014/main" id="{74DF5D47-E7DB-D5C2-32D4-BE33CF6F9973}"/>
              </a:ext>
            </a:extLst>
          </p:cNvPr>
          <p:cNvSpPr/>
          <p:nvPr/>
        </p:nvSpPr>
        <p:spPr>
          <a:xfrm flipV="1">
            <a:off x="7114039" y="3168806"/>
            <a:ext cx="1983371" cy="2997295"/>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rgbClr val="A6A9B0"/>
          </a:solidFill>
          <a:ln w="3810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a:solidFill>
                <a:srgbClr val="575757"/>
              </a:solidFill>
              <a:cs typeface="Arial" pitchFamily="34" charset="0"/>
            </a:endParaRPr>
          </a:p>
        </p:txBody>
      </p:sp>
      <p:sp>
        <p:nvSpPr>
          <p:cNvPr id="14" name="Freeform 99">
            <a:extLst>
              <a:ext uri="{FF2B5EF4-FFF2-40B4-BE49-F238E27FC236}">
                <a16:creationId xmlns:a16="http://schemas.microsoft.com/office/drawing/2014/main" id="{8542901D-34EB-78BE-A112-84614849B868}"/>
              </a:ext>
            </a:extLst>
          </p:cNvPr>
          <p:cNvSpPr/>
          <p:nvPr/>
        </p:nvSpPr>
        <p:spPr>
          <a:xfrm rot="2700000" flipV="1">
            <a:off x="6061961" y="2733022"/>
            <a:ext cx="1983371" cy="2997295"/>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rgbClr val="D0E0E4"/>
          </a:solidFill>
          <a:ln w="3810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a:solidFill>
                <a:srgbClr val="575757"/>
              </a:solidFill>
              <a:cs typeface="Arial" pitchFamily="34" charset="0"/>
            </a:endParaRPr>
          </a:p>
        </p:txBody>
      </p:sp>
      <p:sp>
        <p:nvSpPr>
          <p:cNvPr id="15" name="Freeform 99">
            <a:extLst>
              <a:ext uri="{FF2B5EF4-FFF2-40B4-BE49-F238E27FC236}">
                <a16:creationId xmlns:a16="http://schemas.microsoft.com/office/drawing/2014/main" id="{7A610E11-B525-4ACE-8521-D798C49A47BF}"/>
              </a:ext>
            </a:extLst>
          </p:cNvPr>
          <p:cNvSpPr/>
          <p:nvPr/>
        </p:nvSpPr>
        <p:spPr>
          <a:xfrm rot="5400000" flipV="1">
            <a:off x="5626175" y="1680943"/>
            <a:ext cx="1983371" cy="2997295"/>
          </a:xfrm>
          <a:custGeom>
            <a:avLst/>
            <a:gdLst>
              <a:gd name="connsiteX0" fmla="*/ 0 w 2225674"/>
              <a:gd name="connsiteY0" fmla="*/ 1112837 h 2225674"/>
              <a:gd name="connsiteX1" fmla="*/ 325944 w 2225674"/>
              <a:gd name="connsiteY1" fmla="*/ 325943 h 2225674"/>
              <a:gd name="connsiteX2" fmla="*/ 1112839 w 2225674"/>
              <a:gd name="connsiteY2" fmla="*/ 2 h 2225674"/>
              <a:gd name="connsiteX3" fmla="*/ 1899733 w 2225674"/>
              <a:gd name="connsiteY3" fmla="*/ 325946 h 2225674"/>
              <a:gd name="connsiteX4" fmla="*/ 2225674 w 2225674"/>
              <a:gd name="connsiteY4" fmla="*/ 1112841 h 2225674"/>
              <a:gd name="connsiteX5" fmla="*/ 1899731 w 2225674"/>
              <a:gd name="connsiteY5" fmla="*/ 1899736 h 2225674"/>
              <a:gd name="connsiteX6" fmla="*/ 1112836 w 2225674"/>
              <a:gd name="connsiteY6" fmla="*/ 2225678 h 2225674"/>
              <a:gd name="connsiteX7" fmla="*/ 325941 w 2225674"/>
              <a:gd name="connsiteY7" fmla="*/ 1899735 h 2225674"/>
              <a:gd name="connsiteX8" fmla="*/ -1 w 2225674"/>
              <a:gd name="connsiteY8" fmla="*/ 1112840 h 2225674"/>
              <a:gd name="connsiteX9" fmla="*/ 0 w 2225674"/>
              <a:gd name="connsiteY9" fmla="*/ 1112837 h 2225674"/>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899732 w 2225676"/>
              <a:gd name="connsiteY5" fmla="*/ 1899735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3259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68677"/>
              <a:gd name="connsiteX1" fmla="*/ 325945 w 2225676"/>
              <a:gd name="connsiteY1" fmla="*/ 325942 h 3368677"/>
              <a:gd name="connsiteX2" fmla="*/ 1112840 w 2225676"/>
              <a:gd name="connsiteY2" fmla="*/ 1 h 3368677"/>
              <a:gd name="connsiteX3" fmla="*/ 1899734 w 2225676"/>
              <a:gd name="connsiteY3" fmla="*/ 325945 h 3368677"/>
              <a:gd name="connsiteX4" fmla="*/ 2225675 w 2225676"/>
              <a:gd name="connsiteY4" fmla="*/ 1112840 h 3368677"/>
              <a:gd name="connsiteX5" fmla="*/ 1966407 w 2225676"/>
              <a:gd name="connsiteY5" fmla="*/ 1942597 h 3368677"/>
              <a:gd name="connsiteX6" fmla="*/ 1112837 w 2225676"/>
              <a:gd name="connsiteY6" fmla="*/ 3368677 h 3368677"/>
              <a:gd name="connsiteX7" fmla="*/ 249742 w 2225676"/>
              <a:gd name="connsiteY7" fmla="*/ 1899734 h 3368677"/>
              <a:gd name="connsiteX8" fmla="*/ 0 w 2225676"/>
              <a:gd name="connsiteY8" fmla="*/ 1112839 h 3368677"/>
              <a:gd name="connsiteX9" fmla="*/ 1 w 2225676"/>
              <a:gd name="connsiteY9" fmla="*/ 1112836 h 3368677"/>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49742 w 2225676"/>
              <a:gd name="connsiteY7" fmla="*/ 1899734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 name="connsiteX0" fmla="*/ 1 w 2225676"/>
              <a:gd name="connsiteY0" fmla="*/ 1112836 h 3378202"/>
              <a:gd name="connsiteX1" fmla="*/ 325945 w 2225676"/>
              <a:gd name="connsiteY1" fmla="*/ 325942 h 3378202"/>
              <a:gd name="connsiteX2" fmla="*/ 1112840 w 2225676"/>
              <a:gd name="connsiteY2" fmla="*/ 1 h 3378202"/>
              <a:gd name="connsiteX3" fmla="*/ 1899734 w 2225676"/>
              <a:gd name="connsiteY3" fmla="*/ 325945 h 3378202"/>
              <a:gd name="connsiteX4" fmla="*/ 2225675 w 2225676"/>
              <a:gd name="connsiteY4" fmla="*/ 1112840 h 3378202"/>
              <a:gd name="connsiteX5" fmla="*/ 1966407 w 2225676"/>
              <a:gd name="connsiteY5" fmla="*/ 1942597 h 3378202"/>
              <a:gd name="connsiteX6" fmla="*/ 1127125 w 2225676"/>
              <a:gd name="connsiteY6" fmla="*/ 3378202 h 3378202"/>
              <a:gd name="connsiteX7" fmla="*/ 259267 w 2225676"/>
              <a:gd name="connsiteY7" fmla="*/ 1894972 h 3378202"/>
              <a:gd name="connsiteX8" fmla="*/ 0 w 2225676"/>
              <a:gd name="connsiteY8" fmla="*/ 1112839 h 3378202"/>
              <a:gd name="connsiteX9" fmla="*/ 1 w 2225676"/>
              <a:gd name="connsiteY9" fmla="*/ 1112836 h 337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676" h="3378202">
                <a:moveTo>
                  <a:pt x="1" y="1112836"/>
                </a:moveTo>
                <a:cubicBezTo>
                  <a:pt x="1" y="817693"/>
                  <a:pt x="117247" y="534639"/>
                  <a:pt x="325945" y="325942"/>
                </a:cubicBezTo>
                <a:cubicBezTo>
                  <a:pt x="534643" y="117245"/>
                  <a:pt x="817698" y="0"/>
                  <a:pt x="1112840" y="1"/>
                </a:cubicBezTo>
                <a:cubicBezTo>
                  <a:pt x="1407983" y="1"/>
                  <a:pt x="1691037" y="117247"/>
                  <a:pt x="1899734" y="325945"/>
                </a:cubicBezTo>
                <a:cubicBezTo>
                  <a:pt x="2108431" y="534643"/>
                  <a:pt x="2225676" y="817698"/>
                  <a:pt x="2225675" y="1112840"/>
                </a:cubicBezTo>
                <a:cubicBezTo>
                  <a:pt x="2225675" y="1407983"/>
                  <a:pt x="2151880" y="1566624"/>
                  <a:pt x="1966407" y="1942597"/>
                </a:cubicBezTo>
                <a:cubicBezTo>
                  <a:pt x="1686646" y="2421132"/>
                  <a:pt x="1421173" y="2909192"/>
                  <a:pt x="1127125" y="3378202"/>
                </a:cubicBezTo>
                <a:lnTo>
                  <a:pt x="259267" y="1894972"/>
                </a:lnTo>
                <a:cubicBezTo>
                  <a:pt x="59507" y="1528524"/>
                  <a:pt x="0" y="1407982"/>
                  <a:pt x="0" y="1112839"/>
                </a:cubicBezTo>
                <a:cubicBezTo>
                  <a:pt x="0" y="1112838"/>
                  <a:pt x="1" y="1112837"/>
                  <a:pt x="1" y="1112836"/>
                </a:cubicBezTo>
                <a:close/>
              </a:path>
            </a:pathLst>
          </a:custGeom>
          <a:solidFill>
            <a:srgbClr val="D9EDF3"/>
          </a:solidFill>
          <a:ln w="3810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a:solidFill>
                <a:srgbClr val="575757"/>
              </a:solidFill>
              <a:cs typeface="Arial" pitchFamily="34" charset="0"/>
            </a:endParaRPr>
          </a:p>
        </p:txBody>
      </p:sp>
      <p:sp>
        <p:nvSpPr>
          <p:cNvPr id="16" name="Freeform: Shape 15">
            <a:extLst>
              <a:ext uri="{FF2B5EF4-FFF2-40B4-BE49-F238E27FC236}">
                <a16:creationId xmlns:a16="http://schemas.microsoft.com/office/drawing/2014/main" id="{17C8E737-919F-B56D-3D74-2FC13359CEBA}"/>
              </a:ext>
            </a:extLst>
          </p:cNvPr>
          <p:cNvSpPr/>
          <p:nvPr/>
        </p:nvSpPr>
        <p:spPr>
          <a:xfrm rot="8100000" flipV="1">
            <a:off x="6068362" y="644317"/>
            <a:ext cx="1939667" cy="2997294"/>
          </a:xfrm>
          <a:custGeom>
            <a:avLst/>
            <a:gdLst>
              <a:gd name="connsiteX0" fmla="*/ 289760 w 2277692"/>
              <a:gd name="connsiteY0" fmla="*/ 339587 h 3519631"/>
              <a:gd name="connsiteX1" fmla="*/ 37326 w 2277692"/>
              <a:gd name="connsiteY1" fmla="*/ 715732 h 3519631"/>
              <a:gd name="connsiteX2" fmla="*/ 0 w 2277692"/>
              <a:gd name="connsiteY2" fmla="*/ 819495 h 3519631"/>
              <a:gd name="connsiteX3" fmla="*/ 2627 w 2277692"/>
              <a:gd name="connsiteY3" fmla="*/ 820732 h 3519631"/>
              <a:gd name="connsiteX4" fmla="*/ 276657 w 2277692"/>
              <a:gd name="connsiteY4" fmla="*/ 1023578 h 3519631"/>
              <a:gd name="connsiteX5" fmla="*/ 696105 w 2277692"/>
              <a:gd name="connsiteY5" fmla="*/ 1826710 h 3519631"/>
              <a:gd name="connsiteX6" fmla="*/ 1132714 w 2277692"/>
              <a:gd name="connsiteY6" fmla="*/ 3505351 h 3519631"/>
              <a:gd name="connsiteX7" fmla="*/ 1117411 w 2277692"/>
              <a:gd name="connsiteY7" fmla="*/ 3501377 h 3519631"/>
              <a:gd name="connsiteX8" fmla="*/ 1128139 w 2277692"/>
              <a:gd name="connsiteY8" fmla="*/ 3519631 h 3519631"/>
              <a:gd name="connsiteX9" fmla="*/ 2006388 w 2277692"/>
              <a:gd name="connsiteY9" fmla="*/ 2023924 h 3519631"/>
              <a:gd name="connsiteX10" fmla="*/ 2277692 w 2277692"/>
              <a:gd name="connsiteY10" fmla="*/ 1159429 h 3519631"/>
              <a:gd name="connsiteX11" fmla="*/ 1936619 w 2277692"/>
              <a:gd name="connsiteY11" fmla="*/ 339590 h 3519631"/>
              <a:gd name="connsiteX12" fmla="*/ 1113190 w 2277692"/>
              <a:gd name="connsiteY12" fmla="*/ 1 h 3519631"/>
              <a:gd name="connsiteX13" fmla="*/ 289760 w 2277692"/>
              <a:gd name="connsiteY13" fmla="*/ 339587 h 3519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77692" h="3519631">
                <a:moveTo>
                  <a:pt x="289760" y="339587"/>
                </a:moveTo>
                <a:cubicBezTo>
                  <a:pt x="180566" y="448304"/>
                  <a:pt x="95297" y="576389"/>
                  <a:pt x="37326" y="715732"/>
                </a:cubicBezTo>
                <a:lnTo>
                  <a:pt x="0" y="819495"/>
                </a:lnTo>
                <a:lnTo>
                  <a:pt x="2627" y="820732"/>
                </a:lnTo>
                <a:cubicBezTo>
                  <a:pt x="102634" y="873953"/>
                  <a:pt x="195120" y="942039"/>
                  <a:pt x="276657" y="1023578"/>
                </a:cubicBezTo>
                <a:cubicBezTo>
                  <a:pt x="494092" y="1241012"/>
                  <a:pt x="556361" y="1412488"/>
                  <a:pt x="696105" y="1826710"/>
                </a:cubicBezTo>
                <a:cubicBezTo>
                  <a:pt x="841641" y="2386257"/>
                  <a:pt x="1004767" y="2942249"/>
                  <a:pt x="1132714" y="3505351"/>
                </a:cubicBezTo>
                <a:lnTo>
                  <a:pt x="1117411" y="3501377"/>
                </a:lnTo>
                <a:lnTo>
                  <a:pt x="1128139" y="3519631"/>
                </a:lnTo>
                <a:cubicBezTo>
                  <a:pt x="1435839" y="3030986"/>
                  <a:pt x="1713638" y="2522493"/>
                  <a:pt x="2006388" y="2023924"/>
                </a:cubicBezTo>
                <a:cubicBezTo>
                  <a:pt x="2200471" y="1632211"/>
                  <a:pt x="2277693" y="1466928"/>
                  <a:pt x="2277692" y="1159429"/>
                </a:cubicBezTo>
                <a:cubicBezTo>
                  <a:pt x="2277694" y="851931"/>
                  <a:pt x="2155005" y="557025"/>
                  <a:pt x="1936619" y="339590"/>
                </a:cubicBezTo>
                <a:cubicBezTo>
                  <a:pt x="1718232" y="122155"/>
                  <a:pt x="1422037" y="0"/>
                  <a:pt x="1113190" y="1"/>
                </a:cubicBezTo>
                <a:cubicBezTo>
                  <a:pt x="804345" y="-1"/>
                  <a:pt x="508148" y="122153"/>
                  <a:pt x="289760" y="339587"/>
                </a:cubicBezTo>
                <a:close/>
              </a:path>
            </a:pathLst>
          </a:custGeom>
          <a:solidFill>
            <a:schemeClr val="accent6">
              <a:lumMod val="20000"/>
              <a:lumOff val="80000"/>
            </a:schemeClr>
          </a:solidFill>
          <a:ln w="3810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noAutofit/>
          </a:bodyPr>
          <a:lstStyle/>
          <a:p>
            <a:pPr algn="ctr"/>
            <a:endParaRPr lang="en-US" sz="1200">
              <a:solidFill>
                <a:srgbClr val="575757"/>
              </a:solidFill>
              <a:cs typeface="Arial" pitchFamily="34" charset="0"/>
            </a:endParaRPr>
          </a:p>
        </p:txBody>
      </p:sp>
      <p:sp>
        <p:nvSpPr>
          <p:cNvPr id="17" name="Oval 16">
            <a:extLst>
              <a:ext uri="{FF2B5EF4-FFF2-40B4-BE49-F238E27FC236}">
                <a16:creationId xmlns:a16="http://schemas.microsoft.com/office/drawing/2014/main" id="{4BADC049-EB2C-AE90-DF8F-F1AEA6BCA4EB}"/>
              </a:ext>
            </a:extLst>
          </p:cNvPr>
          <p:cNvSpPr/>
          <p:nvPr/>
        </p:nvSpPr>
        <p:spPr>
          <a:xfrm>
            <a:off x="7401604" y="2475473"/>
            <a:ext cx="1408236" cy="1408236"/>
          </a:xfrm>
          <a:prstGeom prst="ellipse">
            <a:avLst/>
          </a:prstGeom>
          <a:solidFill>
            <a:srgbClr val="A6B1C8"/>
          </a:solidFill>
          <a:ln w="38100">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a:solidFill>
                <a:srgbClr val="575757"/>
              </a:solidFill>
              <a:cs typeface="Arial" pitchFamily="34" charset="0"/>
            </a:endParaRPr>
          </a:p>
        </p:txBody>
      </p:sp>
      <p:sp>
        <p:nvSpPr>
          <p:cNvPr id="18" name="TextBox 17">
            <a:extLst>
              <a:ext uri="{FF2B5EF4-FFF2-40B4-BE49-F238E27FC236}">
                <a16:creationId xmlns:a16="http://schemas.microsoft.com/office/drawing/2014/main" id="{24FC809E-D9C6-05B5-CE40-88EA0044FD24}"/>
              </a:ext>
            </a:extLst>
          </p:cNvPr>
          <p:cNvSpPr txBox="1"/>
          <p:nvPr/>
        </p:nvSpPr>
        <p:spPr>
          <a:xfrm>
            <a:off x="6140913" y="1833585"/>
            <a:ext cx="1273361" cy="423190"/>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rgbClr val="262626"/>
                </a:solidFill>
              </a:rPr>
              <a:t>Donors</a:t>
            </a:r>
          </a:p>
        </p:txBody>
      </p:sp>
      <p:sp>
        <p:nvSpPr>
          <p:cNvPr id="19" name="TextBox 18">
            <a:extLst>
              <a:ext uri="{FF2B5EF4-FFF2-40B4-BE49-F238E27FC236}">
                <a16:creationId xmlns:a16="http://schemas.microsoft.com/office/drawing/2014/main" id="{AC8514ED-040F-C4C8-4B18-174196A00E5E}"/>
              </a:ext>
            </a:extLst>
          </p:cNvPr>
          <p:cNvSpPr txBox="1"/>
          <p:nvPr/>
        </p:nvSpPr>
        <p:spPr>
          <a:xfrm>
            <a:off x="5871972" y="4328871"/>
            <a:ext cx="1273361" cy="563266"/>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rgbClr val="262626"/>
                </a:solidFill>
              </a:rPr>
              <a:t>Research community</a:t>
            </a:r>
          </a:p>
        </p:txBody>
      </p:sp>
      <p:sp>
        <p:nvSpPr>
          <p:cNvPr id="20" name="TextBox 19">
            <a:extLst>
              <a:ext uri="{FF2B5EF4-FFF2-40B4-BE49-F238E27FC236}">
                <a16:creationId xmlns:a16="http://schemas.microsoft.com/office/drawing/2014/main" id="{052709FA-C8A9-6341-08FB-360CEEB68076}"/>
              </a:ext>
            </a:extLst>
          </p:cNvPr>
          <p:cNvSpPr txBox="1"/>
          <p:nvPr/>
        </p:nvSpPr>
        <p:spPr>
          <a:xfrm>
            <a:off x="5609920" y="3168806"/>
            <a:ext cx="1273361" cy="563266"/>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rgbClr val="262626"/>
                </a:solidFill>
              </a:rPr>
              <a:t>Industry &amp; innovators</a:t>
            </a:r>
          </a:p>
        </p:txBody>
      </p:sp>
      <p:sp>
        <p:nvSpPr>
          <p:cNvPr id="21" name="TextBox 20">
            <a:extLst>
              <a:ext uri="{FF2B5EF4-FFF2-40B4-BE49-F238E27FC236}">
                <a16:creationId xmlns:a16="http://schemas.microsoft.com/office/drawing/2014/main" id="{C9416143-0B3A-BDC7-D7AF-9BC437A0FFD6}"/>
              </a:ext>
            </a:extLst>
          </p:cNvPr>
          <p:cNvSpPr txBox="1"/>
          <p:nvPr/>
        </p:nvSpPr>
        <p:spPr>
          <a:xfrm>
            <a:off x="7601541" y="5137736"/>
            <a:ext cx="1273361" cy="512060"/>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rgbClr val="262626"/>
                </a:solidFill>
              </a:rPr>
              <a:t>Guideline developers</a:t>
            </a:r>
          </a:p>
        </p:txBody>
      </p:sp>
      <p:sp>
        <p:nvSpPr>
          <p:cNvPr id="22" name="TextBox 21">
            <a:extLst>
              <a:ext uri="{FF2B5EF4-FFF2-40B4-BE49-F238E27FC236}">
                <a16:creationId xmlns:a16="http://schemas.microsoft.com/office/drawing/2014/main" id="{92323180-B4AF-DB90-AF35-5974EC668F1A}"/>
              </a:ext>
            </a:extLst>
          </p:cNvPr>
          <p:cNvSpPr txBox="1"/>
          <p:nvPr/>
        </p:nvSpPr>
        <p:spPr>
          <a:xfrm>
            <a:off x="9047310" y="2689574"/>
            <a:ext cx="1685053" cy="824678"/>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rgbClr val="262626"/>
                </a:solidFill>
              </a:rPr>
              <a:t>Implementors </a:t>
            </a:r>
            <a:r>
              <a:rPr lang="en-US" sz="1400" b="1" dirty="0">
                <a:solidFill>
                  <a:srgbClr val="262626"/>
                </a:solidFill>
              </a:rPr>
              <a:t>(incl. NGOs and </a:t>
            </a:r>
            <a:r>
              <a:rPr lang="en-US" sz="1400" b="1" dirty="0" err="1">
                <a:solidFill>
                  <a:srgbClr val="262626"/>
                </a:solidFill>
              </a:rPr>
              <a:t>CSOs</a:t>
            </a:r>
            <a:r>
              <a:rPr lang="en-US" sz="1400" b="1" dirty="0">
                <a:solidFill>
                  <a:srgbClr val="262626"/>
                </a:solidFill>
              </a:rPr>
              <a:t>)   </a:t>
            </a:r>
            <a:endParaRPr lang="en-US" b="1" dirty="0">
              <a:solidFill>
                <a:srgbClr val="262626"/>
              </a:solidFill>
            </a:endParaRPr>
          </a:p>
        </p:txBody>
      </p:sp>
      <p:sp>
        <p:nvSpPr>
          <p:cNvPr id="23" name="TextBox 22">
            <a:extLst>
              <a:ext uri="{FF2B5EF4-FFF2-40B4-BE49-F238E27FC236}">
                <a16:creationId xmlns:a16="http://schemas.microsoft.com/office/drawing/2014/main" id="{C52FADAC-1FFF-A0EB-41DC-E98CC6DD0A4F}"/>
              </a:ext>
            </a:extLst>
          </p:cNvPr>
          <p:cNvSpPr txBox="1"/>
          <p:nvPr/>
        </p:nvSpPr>
        <p:spPr>
          <a:xfrm>
            <a:off x="9117932" y="4426110"/>
            <a:ext cx="1273361" cy="423190"/>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rgbClr val="262626"/>
                </a:solidFill>
              </a:rPr>
              <a:t>Professional associations</a:t>
            </a:r>
          </a:p>
        </p:txBody>
      </p:sp>
      <p:sp>
        <p:nvSpPr>
          <p:cNvPr id="24" name="TextBox 23">
            <a:extLst>
              <a:ext uri="{FF2B5EF4-FFF2-40B4-BE49-F238E27FC236}">
                <a16:creationId xmlns:a16="http://schemas.microsoft.com/office/drawing/2014/main" id="{4ED16F81-68E6-51FF-FA13-A1FFD6789766}"/>
              </a:ext>
            </a:extLst>
          </p:cNvPr>
          <p:cNvSpPr txBox="1"/>
          <p:nvPr/>
        </p:nvSpPr>
        <p:spPr>
          <a:xfrm>
            <a:off x="8744612" y="1597319"/>
            <a:ext cx="1209063" cy="567851"/>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rgbClr val="262626"/>
                </a:solidFill>
              </a:rPr>
              <a:t>Ministries</a:t>
            </a:r>
            <a:br>
              <a:rPr lang="en-US" b="1" dirty="0">
                <a:solidFill>
                  <a:srgbClr val="262626"/>
                </a:solidFill>
              </a:rPr>
            </a:br>
            <a:r>
              <a:rPr lang="en-US" b="1" dirty="0">
                <a:solidFill>
                  <a:srgbClr val="262626"/>
                </a:solidFill>
              </a:rPr>
              <a:t>of Health</a:t>
            </a:r>
          </a:p>
        </p:txBody>
      </p:sp>
      <p:sp>
        <p:nvSpPr>
          <p:cNvPr id="25" name="TextBox 24">
            <a:extLst>
              <a:ext uri="{FF2B5EF4-FFF2-40B4-BE49-F238E27FC236}">
                <a16:creationId xmlns:a16="http://schemas.microsoft.com/office/drawing/2014/main" id="{2CD2B13B-C229-B343-E758-657525AD4169}"/>
              </a:ext>
            </a:extLst>
          </p:cNvPr>
          <p:cNvSpPr txBox="1"/>
          <p:nvPr/>
        </p:nvSpPr>
        <p:spPr>
          <a:xfrm>
            <a:off x="7336542" y="3131237"/>
            <a:ext cx="1538360" cy="423190"/>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rgbClr val="262626"/>
                </a:solidFill>
              </a:rPr>
              <a:t>International</a:t>
            </a:r>
            <a:br>
              <a:rPr lang="en-US" b="1" dirty="0">
                <a:solidFill>
                  <a:srgbClr val="262626"/>
                </a:solidFill>
              </a:rPr>
            </a:br>
            <a:r>
              <a:rPr lang="en-US" b="1" dirty="0">
                <a:solidFill>
                  <a:srgbClr val="262626"/>
                </a:solidFill>
              </a:rPr>
              <a:t>community</a:t>
            </a:r>
          </a:p>
        </p:txBody>
      </p:sp>
      <p:sp>
        <p:nvSpPr>
          <p:cNvPr id="26" name="TextBox 25">
            <a:extLst>
              <a:ext uri="{FF2B5EF4-FFF2-40B4-BE49-F238E27FC236}">
                <a16:creationId xmlns:a16="http://schemas.microsoft.com/office/drawing/2014/main" id="{8C681E77-8239-7316-A828-41D3CF070C0F}"/>
              </a:ext>
            </a:extLst>
          </p:cNvPr>
          <p:cNvSpPr txBox="1"/>
          <p:nvPr/>
        </p:nvSpPr>
        <p:spPr>
          <a:xfrm>
            <a:off x="7334981" y="1338997"/>
            <a:ext cx="1273361" cy="423190"/>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rgbClr val="262626"/>
                </a:solidFill>
              </a:rPr>
              <a:t>Women and women’s groups</a:t>
            </a:r>
          </a:p>
        </p:txBody>
      </p:sp>
      <p:grpSp>
        <p:nvGrpSpPr>
          <p:cNvPr id="106" name="Group 105">
            <a:extLst>
              <a:ext uri="{FF2B5EF4-FFF2-40B4-BE49-F238E27FC236}">
                <a16:creationId xmlns:a16="http://schemas.microsoft.com/office/drawing/2014/main" id="{D71BB19F-C718-B5B4-3E51-54CFD155A089}"/>
              </a:ext>
            </a:extLst>
          </p:cNvPr>
          <p:cNvGrpSpPr/>
          <p:nvPr/>
        </p:nvGrpSpPr>
        <p:grpSpPr>
          <a:xfrm>
            <a:off x="7855304" y="2608869"/>
            <a:ext cx="500833" cy="433412"/>
            <a:chOff x="-3448815" y="1839042"/>
            <a:chExt cx="534511" cy="462558"/>
          </a:xfrm>
        </p:grpSpPr>
        <p:sp>
          <p:nvSpPr>
            <p:cNvPr id="43" name="Freeform 7">
              <a:extLst>
                <a:ext uri="{FF2B5EF4-FFF2-40B4-BE49-F238E27FC236}">
                  <a16:creationId xmlns:a16="http://schemas.microsoft.com/office/drawing/2014/main" id="{390FD7B2-60B5-6667-F69D-F3101BC03820}"/>
                </a:ext>
              </a:extLst>
            </p:cNvPr>
            <p:cNvSpPr>
              <a:spLocks noEditPoints="1"/>
            </p:cNvSpPr>
            <p:nvPr/>
          </p:nvSpPr>
          <p:spPr bwMode="auto">
            <a:xfrm>
              <a:off x="-3377066" y="1991708"/>
              <a:ext cx="405765" cy="203165"/>
            </a:xfrm>
            <a:custGeom>
              <a:avLst/>
              <a:gdLst>
                <a:gd name="T0" fmla="*/ 1611 w 1611"/>
                <a:gd name="T1" fmla="*/ 757 h 807"/>
                <a:gd name="T2" fmla="*/ 1535 w 1611"/>
                <a:gd name="T3" fmla="*/ 807 h 807"/>
                <a:gd name="T4" fmla="*/ 1450 w 1611"/>
                <a:gd name="T5" fmla="*/ 800 h 807"/>
                <a:gd name="T6" fmla="*/ 1450 w 1611"/>
                <a:gd name="T7" fmla="*/ 782 h 807"/>
                <a:gd name="T8" fmla="*/ 1537 w 1611"/>
                <a:gd name="T9" fmla="*/ 614 h 807"/>
                <a:gd name="T10" fmla="*/ 1611 w 1611"/>
                <a:gd name="T11" fmla="*/ 757 h 807"/>
                <a:gd name="T12" fmla="*/ 1484 w 1611"/>
                <a:gd name="T13" fmla="*/ 471 h 807"/>
                <a:gd name="T14" fmla="*/ 1504 w 1611"/>
                <a:gd name="T15" fmla="*/ 471 h 807"/>
                <a:gd name="T16" fmla="*/ 1507 w 1611"/>
                <a:gd name="T17" fmla="*/ 470 h 807"/>
                <a:gd name="T18" fmla="*/ 1541 w 1611"/>
                <a:gd name="T19" fmla="*/ 421 h 807"/>
                <a:gd name="T20" fmla="*/ 1541 w 1611"/>
                <a:gd name="T21" fmla="*/ 422 h 807"/>
                <a:gd name="T22" fmla="*/ 1552 w 1611"/>
                <a:gd name="T23" fmla="*/ 315 h 807"/>
                <a:gd name="T24" fmla="*/ 1241 w 1611"/>
                <a:gd name="T25" fmla="*/ 0 h 807"/>
                <a:gd name="T26" fmla="*/ 932 w 1611"/>
                <a:gd name="T27" fmla="*/ 315 h 807"/>
                <a:gd name="T28" fmla="*/ 949 w 1611"/>
                <a:gd name="T29" fmla="*/ 444 h 807"/>
                <a:gd name="T30" fmla="*/ 949 w 1611"/>
                <a:gd name="T31" fmla="*/ 445 h 807"/>
                <a:gd name="T32" fmla="*/ 1070 w 1611"/>
                <a:gd name="T33" fmla="*/ 253 h 807"/>
                <a:gd name="T34" fmla="*/ 1074 w 1611"/>
                <a:gd name="T35" fmla="*/ 253 h 807"/>
                <a:gd name="T36" fmla="*/ 1482 w 1611"/>
                <a:gd name="T37" fmla="*/ 471 h 807"/>
                <a:gd name="T38" fmla="*/ 1484 w 1611"/>
                <a:gd name="T39" fmla="*/ 471 h 807"/>
                <a:gd name="T40" fmla="*/ 310 w 1611"/>
                <a:gd name="T41" fmla="*/ 0 h 807"/>
                <a:gd name="T42" fmla="*/ 0 w 1611"/>
                <a:gd name="T43" fmla="*/ 317 h 807"/>
                <a:gd name="T44" fmla="*/ 12 w 1611"/>
                <a:gd name="T45" fmla="*/ 427 h 807"/>
                <a:gd name="T46" fmla="*/ 12 w 1611"/>
                <a:gd name="T47" fmla="*/ 428 h 807"/>
                <a:gd name="T48" fmla="*/ 43 w 1611"/>
                <a:gd name="T49" fmla="*/ 467 h 807"/>
                <a:gd name="T50" fmla="*/ 64 w 1611"/>
                <a:gd name="T51" fmla="*/ 470 h 807"/>
                <a:gd name="T52" fmla="*/ 140 w 1611"/>
                <a:gd name="T53" fmla="*/ 254 h 807"/>
                <a:gd name="T54" fmla="*/ 547 w 1611"/>
                <a:gd name="T55" fmla="*/ 240 h 807"/>
                <a:gd name="T56" fmla="*/ 550 w 1611"/>
                <a:gd name="T57" fmla="*/ 474 h 807"/>
                <a:gd name="T58" fmla="*/ 573 w 1611"/>
                <a:gd name="T59" fmla="*/ 474 h 807"/>
                <a:gd name="T60" fmla="*/ 608 w 1611"/>
                <a:gd name="T61" fmla="*/ 424 h 807"/>
                <a:gd name="T62" fmla="*/ 619 w 1611"/>
                <a:gd name="T63" fmla="*/ 317 h 807"/>
                <a:gd name="T64" fmla="*/ 310 w 1611"/>
                <a:gd name="T65" fmla="*/ 0 h 807"/>
                <a:gd name="T66" fmla="*/ 872 w 1611"/>
                <a:gd name="T67" fmla="*/ 757 h 807"/>
                <a:gd name="T68" fmla="*/ 949 w 1611"/>
                <a:gd name="T69" fmla="*/ 807 h 807"/>
                <a:gd name="T70" fmla="*/ 1033 w 1611"/>
                <a:gd name="T71" fmla="*/ 800 h 807"/>
                <a:gd name="T72" fmla="*/ 1033 w 1611"/>
                <a:gd name="T73" fmla="*/ 781 h 807"/>
                <a:gd name="T74" fmla="*/ 946 w 1611"/>
                <a:gd name="T75" fmla="*/ 613 h 807"/>
                <a:gd name="T76" fmla="*/ 872 w 1611"/>
                <a:gd name="T77" fmla="*/ 757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1" h="807">
                  <a:moveTo>
                    <a:pt x="1611" y="757"/>
                  </a:moveTo>
                  <a:cubicBezTo>
                    <a:pt x="1585" y="784"/>
                    <a:pt x="1559" y="799"/>
                    <a:pt x="1535" y="807"/>
                  </a:cubicBezTo>
                  <a:cubicBezTo>
                    <a:pt x="1500" y="803"/>
                    <a:pt x="1468" y="801"/>
                    <a:pt x="1450" y="800"/>
                  </a:cubicBezTo>
                  <a:cubicBezTo>
                    <a:pt x="1450" y="800"/>
                    <a:pt x="1450" y="800"/>
                    <a:pt x="1450" y="782"/>
                  </a:cubicBezTo>
                  <a:cubicBezTo>
                    <a:pt x="1472" y="756"/>
                    <a:pt x="1501" y="700"/>
                    <a:pt x="1537" y="614"/>
                  </a:cubicBezTo>
                  <a:cubicBezTo>
                    <a:pt x="1541" y="673"/>
                    <a:pt x="1551" y="751"/>
                    <a:pt x="1611" y="757"/>
                  </a:cubicBezTo>
                  <a:close/>
                  <a:moveTo>
                    <a:pt x="1484" y="471"/>
                  </a:moveTo>
                  <a:cubicBezTo>
                    <a:pt x="1484" y="471"/>
                    <a:pt x="1484" y="471"/>
                    <a:pt x="1504" y="471"/>
                  </a:cubicBezTo>
                  <a:cubicBezTo>
                    <a:pt x="1505" y="471"/>
                    <a:pt x="1506" y="471"/>
                    <a:pt x="1507" y="470"/>
                  </a:cubicBezTo>
                  <a:cubicBezTo>
                    <a:pt x="1535" y="437"/>
                    <a:pt x="1540" y="422"/>
                    <a:pt x="1541" y="421"/>
                  </a:cubicBezTo>
                  <a:cubicBezTo>
                    <a:pt x="1541" y="422"/>
                    <a:pt x="1541" y="422"/>
                    <a:pt x="1541" y="422"/>
                  </a:cubicBezTo>
                  <a:cubicBezTo>
                    <a:pt x="1553" y="389"/>
                    <a:pt x="1552" y="353"/>
                    <a:pt x="1552" y="315"/>
                  </a:cubicBezTo>
                  <a:cubicBezTo>
                    <a:pt x="1552" y="141"/>
                    <a:pt x="1417" y="0"/>
                    <a:pt x="1241" y="0"/>
                  </a:cubicBezTo>
                  <a:cubicBezTo>
                    <a:pt x="1067" y="0"/>
                    <a:pt x="932" y="141"/>
                    <a:pt x="932" y="315"/>
                  </a:cubicBezTo>
                  <a:cubicBezTo>
                    <a:pt x="932" y="354"/>
                    <a:pt x="936" y="410"/>
                    <a:pt x="949" y="444"/>
                  </a:cubicBezTo>
                  <a:cubicBezTo>
                    <a:pt x="949" y="444"/>
                    <a:pt x="949" y="444"/>
                    <a:pt x="949" y="445"/>
                  </a:cubicBezTo>
                  <a:cubicBezTo>
                    <a:pt x="980" y="473"/>
                    <a:pt x="979" y="283"/>
                    <a:pt x="1070" y="253"/>
                  </a:cubicBezTo>
                  <a:cubicBezTo>
                    <a:pt x="1071" y="253"/>
                    <a:pt x="1073" y="253"/>
                    <a:pt x="1074" y="253"/>
                  </a:cubicBezTo>
                  <a:cubicBezTo>
                    <a:pt x="1074" y="253"/>
                    <a:pt x="1074" y="253"/>
                    <a:pt x="1482" y="471"/>
                  </a:cubicBezTo>
                  <a:cubicBezTo>
                    <a:pt x="1483" y="471"/>
                    <a:pt x="1483" y="471"/>
                    <a:pt x="1484" y="471"/>
                  </a:cubicBezTo>
                  <a:close/>
                  <a:moveTo>
                    <a:pt x="310" y="0"/>
                  </a:moveTo>
                  <a:cubicBezTo>
                    <a:pt x="134" y="0"/>
                    <a:pt x="0" y="142"/>
                    <a:pt x="0" y="317"/>
                  </a:cubicBezTo>
                  <a:cubicBezTo>
                    <a:pt x="0" y="356"/>
                    <a:pt x="0" y="393"/>
                    <a:pt x="12" y="427"/>
                  </a:cubicBezTo>
                  <a:cubicBezTo>
                    <a:pt x="12" y="428"/>
                    <a:pt x="12" y="428"/>
                    <a:pt x="12" y="428"/>
                  </a:cubicBezTo>
                  <a:cubicBezTo>
                    <a:pt x="43" y="456"/>
                    <a:pt x="43" y="467"/>
                    <a:pt x="43" y="467"/>
                  </a:cubicBezTo>
                  <a:cubicBezTo>
                    <a:pt x="64" y="470"/>
                    <a:pt x="64" y="470"/>
                    <a:pt x="64" y="470"/>
                  </a:cubicBezTo>
                  <a:cubicBezTo>
                    <a:pt x="64" y="470"/>
                    <a:pt x="47" y="283"/>
                    <a:pt x="140" y="254"/>
                  </a:cubicBezTo>
                  <a:cubicBezTo>
                    <a:pt x="140" y="254"/>
                    <a:pt x="512" y="418"/>
                    <a:pt x="547" y="240"/>
                  </a:cubicBezTo>
                  <a:cubicBezTo>
                    <a:pt x="550" y="462"/>
                    <a:pt x="550" y="474"/>
                    <a:pt x="550" y="474"/>
                  </a:cubicBezTo>
                  <a:cubicBezTo>
                    <a:pt x="573" y="474"/>
                    <a:pt x="573" y="474"/>
                    <a:pt x="573" y="474"/>
                  </a:cubicBezTo>
                  <a:cubicBezTo>
                    <a:pt x="602" y="440"/>
                    <a:pt x="607" y="424"/>
                    <a:pt x="608" y="424"/>
                  </a:cubicBezTo>
                  <a:cubicBezTo>
                    <a:pt x="620" y="391"/>
                    <a:pt x="619" y="355"/>
                    <a:pt x="619" y="317"/>
                  </a:cubicBezTo>
                  <a:cubicBezTo>
                    <a:pt x="619" y="142"/>
                    <a:pt x="485" y="0"/>
                    <a:pt x="310" y="0"/>
                  </a:cubicBezTo>
                  <a:close/>
                  <a:moveTo>
                    <a:pt x="872" y="757"/>
                  </a:moveTo>
                  <a:cubicBezTo>
                    <a:pt x="899" y="784"/>
                    <a:pt x="925" y="799"/>
                    <a:pt x="949" y="807"/>
                  </a:cubicBezTo>
                  <a:cubicBezTo>
                    <a:pt x="984" y="803"/>
                    <a:pt x="1015" y="801"/>
                    <a:pt x="1033" y="800"/>
                  </a:cubicBezTo>
                  <a:cubicBezTo>
                    <a:pt x="1033" y="781"/>
                    <a:pt x="1033" y="781"/>
                    <a:pt x="1033" y="781"/>
                  </a:cubicBezTo>
                  <a:cubicBezTo>
                    <a:pt x="1011" y="756"/>
                    <a:pt x="982" y="700"/>
                    <a:pt x="946" y="613"/>
                  </a:cubicBezTo>
                  <a:cubicBezTo>
                    <a:pt x="943" y="672"/>
                    <a:pt x="933" y="751"/>
                    <a:pt x="872" y="75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8">
              <a:extLst>
                <a:ext uri="{FF2B5EF4-FFF2-40B4-BE49-F238E27FC236}">
                  <a16:creationId xmlns:a16="http://schemas.microsoft.com/office/drawing/2014/main" id="{49BC4E18-3143-FF03-3303-4C5C47B49323}"/>
                </a:ext>
              </a:extLst>
            </p:cNvPr>
            <p:cNvSpPr>
              <a:spLocks noEditPoints="1"/>
            </p:cNvSpPr>
            <p:nvPr/>
          </p:nvSpPr>
          <p:spPr bwMode="auto">
            <a:xfrm>
              <a:off x="-3448815" y="1839042"/>
              <a:ext cx="534511" cy="462558"/>
            </a:xfrm>
            <a:custGeom>
              <a:avLst/>
              <a:gdLst>
                <a:gd name="T0" fmla="*/ 2041 w 2122"/>
                <a:gd name="T1" fmla="*/ 699 h 1837"/>
                <a:gd name="T2" fmla="*/ 1779 w 2122"/>
                <a:gd name="T3" fmla="*/ 668 h 1837"/>
                <a:gd name="T4" fmla="*/ 1296 w 2122"/>
                <a:gd name="T5" fmla="*/ 434 h 1837"/>
                <a:gd name="T6" fmla="*/ 1464 w 2122"/>
                <a:gd name="T7" fmla="*/ 468 h 1837"/>
                <a:gd name="T8" fmla="*/ 1162 w 2122"/>
                <a:gd name="T9" fmla="*/ 497 h 1837"/>
                <a:gd name="T10" fmla="*/ 1763 w 2122"/>
                <a:gd name="T11" fmla="*/ 434 h 1837"/>
                <a:gd name="T12" fmla="*/ 1931 w 2122"/>
                <a:gd name="T13" fmla="*/ 468 h 1837"/>
                <a:gd name="T14" fmla="*/ 828 w 2122"/>
                <a:gd name="T15" fmla="*/ 434 h 1837"/>
                <a:gd name="T16" fmla="*/ 995 w 2122"/>
                <a:gd name="T17" fmla="*/ 468 h 1837"/>
                <a:gd name="T18" fmla="*/ 694 w 2122"/>
                <a:gd name="T19" fmla="*/ 497 h 1837"/>
                <a:gd name="T20" fmla="*/ 1699 w 2122"/>
                <a:gd name="T21" fmla="*/ 1363 h 1837"/>
                <a:gd name="T22" fmla="*/ 1794 w 2122"/>
                <a:gd name="T23" fmla="*/ 1102 h 1837"/>
                <a:gd name="T24" fmla="*/ 1527 w 2122"/>
                <a:gd name="T25" fmla="*/ 1402 h 1837"/>
                <a:gd name="T26" fmla="*/ 1260 w 2122"/>
                <a:gd name="T27" fmla="*/ 1102 h 1837"/>
                <a:gd name="T28" fmla="*/ 1355 w 2122"/>
                <a:gd name="T29" fmla="*/ 1363 h 1837"/>
                <a:gd name="T30" fmla="*/ 1406 w 2122"/>
                <a:gd name="T31" fmla="*/ 1451 h 1837"/>
                <a:gd name="T32" fmla="*/ 1647 w 2122"/>
                <a:gd name="T33" fmla="*/ 1451 h 1837"/>
                <a:gd name="T34" fmla="*/ 1396 w 2122"/>
                <a:gd name="T35" fmla="*/ 302 h 1837"/>
                <a:gd name="T36" fmla="*/ 1694 w 2122"/>
                <a:gd name="T37" fmla="*/ 305 h 1837"/>
                <a:gd name="T38" fmla="*/ 928 w 2122"/>
                <a:gd name="T39" fmla="*/ 691 h 1837"/>
                <a:gd name="T40" fmla="*/ 1227 w 2122"/>
                <a:gd name="T41" fmla="*/ 694 h 1837"/>
                <a:gd name="T42" fmla="*/ 897 w 2122"/>
                <a:gd name="T43" fmla="*/ 694 h 1837"/>
                <a:gd name="T44" fmla="*/ 697 w 2122"/>
                <a:gd name="T45" fmla="*/ 1411 h 1837"/>
                <a:gd name="T46" fmla="*/ 570 w 2122"/>
                <a:gd name="T47" fmla="*/ 1458 h 1837"/>
                <a:gd name="T48" fmla="*/ 500 w 2122"/>
                <a:gd name="T49" fmla="*/ 1415 h 1837"/>
                <a:gd name="T50" fmla="*/ 430 w 2122"/>
                <a:gd name="T51" fmla="*/ 1412 h 1837"/>
                <a:gd name="T52" fmla="*/ 274 w 2122"/>
                <a:gd name="T53" fmla="*/ 1084 h 1837"/>
                <a:gd name="T54" fmla="*/ 359 w 2122"/>
                <a:gd name="T55" fmla="*/ 1135 h 1837"/>
                <a:gd name="T56" fmla="*/ 511 w 2122"/>
                <a:gd name="T57" fmla="*/ 1224 h 1837"/>
                <a:gd name="T58" fmla="*/ 622 w 2122"/>
                <a:gd name="T59" fmla="*/ 1213 h 1837"/>
                <a:gd name="T60" fmla="*/ 712 w 2122"/>
                <a:gd name="T61" fmla="*/ 1323 h 1837"/>
                <a:gd name="T62" fmla="*/ 840 w 2122"/>
                <a:gd name="T63" fmla="*/ 1123 h 1837"/>
                <a:gd name="T64" fmla="*/ 868 w 2122"/>
                <a:gd name="T65" fmla="*/ 1158 h 1837"/>
                <a:gd name="T66" fmla="*/ 750 w 2122"/>
                <a:gd name="T67" fmla="*/ 1424 h 1837"/>
                <a:gd name="T68" fmla="*/ 573 w 2122"/>
                <a:gd name="T69" fmla="*/ 1356 h 1837"/>
                <a:gd name="T70" fmla="*/ 653 w 2122"/>
                <a:gd name="T71" fmla="*/ 1302 h 1837"/>
                <a:gd name="T72" fmla="*/ 637 w 2122"/>
                <a:gd name="T73" fmla="*/ 1383 h 1837"/>
                <a:gd name="T74" fmla="*/ 709 w 2122"/>
                <a:gd name="T75" fmla="*/ 1277 h 1837"/>
                <a:gd name="T76" fmla="*/ 1296 w 2122"/>
                <a:gd name="T77" fmla="*/ 44 h 1837"/>
                <a:gd name="T78" fmla="*/ 1464 w 2122"/>
                <a:gd name="T79" fmla="*/ 78 h 1837"/>
                <a:gd name="T80" fmla="*/ 1162 w 2122"/>
                <a:gd name="T81" fmla="*/ 107 h 1837"/>
                <a:gd name="T82" fmla="*/ 598 w 2122"/>
                <a:gd name="T83" fmla="*/ 1542 h 1837"/>
                <a:gd name="T84" fmla="*/ 149 w 2122"/>
                <a:gd name="T85" fmla="*/ 1493 h 1837"/>
                <a:gd name="T86" fmla="*/ 22 w 2122"/>
                <a:gd name="T87" fmla="*/ 1837 h 1837"/>
                <a:gd name="T88" fmla="*/ 1118 w 2122"/>
                <a:gd name="T89" fmla="*/ 1568 h 1837"/>
                <a:gd name="T90" fmla="*/ 360 w 2122"/>
                <a:gd name="T91" fmla="*/ 434 h 1837"/>
                <a:gd name="T92" fmla="*/ 527 w 2122"/>
                <a:gd name="T93" fmla="*/ 468 h 1837"/>
                <a:gd name="T94" fmla="*/ 2050 w 2122"/>
                <a:gd name="T95" fmla="*/ 1568 h 1837"/>
                <a:gd name="T96" fmla="*/ 1523 w 2122"/>
                <a:gd name="T97" fmla="*/ 1603 h 1837"/>
                <a:gd name="T98" fmla="*/ 1234 w 2122"/>
                <a:gd name="T99" fmla="*/ 1812 h 1837"/>
                <a:gd name="T100" fmla="*/ 2122 w 2122"/>
                <a:gd name="T101" fmla="*/ 1815 h 1837"/>
                <a:gd name="T102" fmla="*/ 99 w 2122"/>
                <a:gd name="T103" fmla="*/ 691 h 1837"/>
                <a:gd name="T104" fmla="*/ 232 w 2122"/>
                <a:gd name="T105" fmla="*/ 585 h 1837"/>
                <a:gd name="T106" fmla="*/ 594 w 2122"/>
                <a:gd name="T107" fmla="*/ 240 h 1837"/>
                <a:gd name="T108" fmla="*/ 761 w 2122"/>
                <a:gd name="T109" fmla="*/ 274 h 1837"/>
                <a:gd name="T110" fmla="*/ 460 w 2122"/>
                <a:gd name="T111" fmla="*/ 302 h 1837"/>
                <a:gd name="T112" fmla="*/ 1062 w 2122"/>
                <a:gd name="T113" fmla="*/ 240 h 1837"/>
                <a:gd name="T114" fmla="*/ 1229 w 2122"/>
                <a:gd name="T115" fmla="*/ 274 h 1837"/>
                <a:gd name="T116" fmla="*/ 828 w 2122"/>
                <a:gd name="T117" fmla="*/ 44 h 1837"/>
                <a:gd name="T118" fmla="*/ 995 w 2122"/>
                <a:gd name="T119" fmla="*/ 78 h 1837"/>
                <a:gd name="T120" fmla="*/ 694 w 2122"/>
                <a:gd name="T121" fmla="*/ 107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22" h="1837">
                  <a:moveTo>
                    <a:pt x="1891" y="585"/>
                  </a:moveTo>
                  <a:cubicBezTo>
                    <a:pt x="1955" y="585"/>
                    <a:pt x="2016" y="613"/>
                    <a:pt x="2058" y="663"/>
                  </a:cubicBezTo>
                  <a:cubicBezTo>
                    <a:pt x="2066" y="672"/>
                    <a:pt x="2065" y="686"/>
                    <a:pt x="2055" y="694"/>
                  </a:cubicBezTo>
                  <a:cubicBezTo>
                    <a:pt x="2051" y="697"/>
                    <a:pt x="2046" y="699"/>
                    <a:pt x="2041" y="699"/>
                  </a:cubicBezTo>
                  <a:cubicBezTo>
                    <a:pt x="2035" y="699"/>
                    <a:pt x="2029" y="696"/>
                    <a:pt x="2024" y="691"/>
                  </a:cubicBezTo>
                  <a:cubicBezTo>
                    <a:pt x="1991" y="652"/>
                    <a:pt x="1942" y="629"/>
                    <a:pt x="1891" y="629"/>
                  </a:cubicBezTo>
                  <a:cubicBezTo>
                    <a:pt x="1850" y="629"/>
                    <a:pt x="1811" y="643"/>
                    <a:pt x="1779" y="669"/>
                  </a:cubicBezTo>
                  <a:cubicBezTo>
                    <a:pt x="1779" y="668"/>
                    <a:pt x="1779" y="668"/>
                    <a:pt x="1779" y="668"/>
                  </a:cubicBezTo>
                  <a:cubicBezTo>
                    <a:pt x="1769" y="658"/>
                    <a:pt x="1758" y="648"/>
                    <a:pt x="1747" y="639"/>
                  </a:cubicBezTo>
                  <a:cubicBezTo>
                    <a:pt x="1786" y="604"/>
                    <a:pt x="1837" y="585"/>
                    <a:pt x="1891" y="585"/>
                  </a:cubicBezTo>
                  <a:close/>
                  <a:moveTo>
                    <a:pt x="1162" y="497"/>
                  </a:moveTo>
                  <a:cubicBezTo>
                    <a:pt x="1196" y="457"/>
                    <a:pt x="1244" y="434"/>
                    <a:pt x="1296" y="434"/>
                  </a:cubicBezTo>
                  <a:cubicBezTo>
                    <a:pt x="1348" y="434"/>
                    <a:pt x="1397" y="457"/>
                    <a:pt x="1430" y="497"/>
                  </a:cubicBezTo>
                  <a:cubicBezTo>
                    <a:pt x="1434" y="502"/>
                    <a:pt x="1440" y="504"/>
                    <a:pt x="1447" y="504"/>
                  </a:cubicBezTo>
                  <a:cubicBezTo>
                    <a:pt x="1452" y="504"/>
                    <a:pt x="1457" y="503"/>
                    <a:pt x="1461" y="499"/>
                  </a:cubicBezTo>
                  <a:cubicBezTo>
                    <a:pt x="1470" y="492"/>
                    <a:pt x="1471" y="478"/>
                    <a:pt x="1464" y="468"/>
                  </a:cubicBezTo>
                  <a:cubicBezTo>
                    <a:pt x="1422" y="419"/>
                    <a:pt x="1361" y="390"/>
                    <a:pt x="1296" y="390"/>
                  </a:cubicBezTo>
                  <a:cubicBezTo>
                    <a:pt x="1231" y="390"/>
                    <a:pt x="1170" y="419"/>
                    <a:pt x="1129" y="468"/>
                  </a:cubicBezTo>
                  <a:cubicBezTo>
                    <a:pt x="1121" y="478"/>
                    <a:pt x="1122" y="492"/>
                    <a:pt x="1131" y="499"/>
                  </a:cubicBezTo>
                  <a:cubicBezTo>
                    <a:pt x="1141" y="507"/>
                    <a:pt x="1154" y="506"/>
                    <a:pt x="1162" y="497"/>
                  </a:cubicBezTo>
                  <a:close/>
                  <a:moveTo>
                    <a:pt x="1597" y="468"/>
                  </a:moveTo>
                  <a:cubicBezTo>
                    <a:pt x="1589" y="478"/>
                    <a:pt x="1590" y="492"/>
                    <a:pt x="1599" y="499"/>
                  </a:cubicBezTo>
                  <a:cubicBezTo>
                    <a:pt x="1609" y="507"/>
                    <a:pt x="1623" y="506"/>
                    <a:pt x="1630" y="497"/>
                  </a:cubicBezTo>
                  <a:cubicBezTo>
                    <a:pt x="1663" y="457"/>
                    <a:pt x="1711" y="434"/>
                    <a:pt x="1763" y="434"/>
                  </a:cubicBezTo>
                  <a:cubicBezTo>
                    <a:pt x="1815" y="434"/>
                    <a:pt x="1864" y="457"/>
                    <a:pt x="1897" y="497"/>
                  </a:cubicBezTo>
                  <a:cubicBezTo>
                    <a:pt x="1901" y="502"/>
                    <a:pt x="1908" y="504"/>
                    <a:pt x="1914" y="504"/>
                  </a:cubicBezTo>
                  <a:cubicBezTo>
                    <a:pt x="1919" y="504"/>
                    <a:pt x="1924" y="503"/>
                    <a:pt x="1928" y="499"/>
                  </a:cubicBezTo>
                  <a:cubicBezTo>
                    <a:pt x="1937" y="492"/>
                    <a:pt x="1938" y="478"/>
                    <a:pt x="1931" y="468"/>
                  </a:cubicBezTo>
                  <a:cubicBezTo>
                    <a:pt x="1889" y="419"/>
                    <a:pt x="1828" y="390"/>
                    <a:pt x="1763" y="390"/>
                  </a:cubicBezTo>
                  <a:cubicBezTo>
                    <a:pt x="1698" y="390"/>
                    <a:pt x="1638" y="419"/>
                    <a:pt x="1597" y="468"/>
                  </a:cubicBezTo>
                  <a:close/>
                  <a:moveTo>
                    <a:pt x="694" y="497"/>
                  </a:moveTo>
                  <a:cubicBezTo>
                    <a:pt x="727" y="457"/>
                    <a:pt x="776" y="434"/>
                    <a:pt x="828" y="434"/>
                  </a:cubicBezTo>
                  <a:cubicBezTo>
                    <a:pt x="880" y="434"/>
                    <a:pt x="928" y="457"/>
                    <a:pt x="962" y="497"/>
                  </a:cubicBezTo>
                  <a:cubicBezTo>
                    <a:pt x="966" y="502"/>
                    <a:pt x="972" y="504"/>
                    <a:pt x="979" y="504"/>
                  </a:cubicBezTo>
                  <a:cubicBezTo>
                    <a:pt x="984" y="504"/>
                    <a:pt x="989" y="503"/>
                    <a:pt x="993" y="499"/>
                  </a:cubicBezTo>
                  <a:cubicBezTo>
                    <a:pt x="1002" y="492"/>
                    <a:pt x="1003" y="478"/>
                    <a:pt x="995" y="468"/>
                  </a:cubicBezTo>
                  <a:cubicBezTo>
                    <a:pt x="954" y="419"/>
                    <a:pt x="893" y="390"/>
                    <a:pt x="828" y="390"/>
                  </a:cubicBezTo>
                  <a:cubicBezTo>
                    <a:pt x="763" y="390"/>
                    <a:pt x="702" y="419"/>
                    <a:pt x="660" y="468"/>
                  </a:cubicBezTo>
                  <a:cubicBezTo>
                    <a:pt x="653" y="478"/>
                    <a:pt x="654" y="492"/>
                    <a:pt x="663" y="499"/>
                  </a:cubicBezTo>
                  <a:cubicBezTo>
                    <a:pt x="672" y="507"/>
                    <a:pt x="686" y="506"/>
                    <a:pt x="694" y="497"/>
                  </a:cubicBezTo>
                  <a:close/>
                  <a:moveTo>
                    <a:pt x="1690" y="1416"/>
                  </a:moveTo>
                  <a:cubicBezTo>
                    <a:pt x="1691" y="1415"/>
                    <a:pt x="1691" y="1415"/>
                    <a:pt x="1691" y="1415"/>
                  </a:cubicBezTo>
                  <a:cubicBezTo>
                    <a:pt x="1691" y="1369"/>
                    <a:pt x="1691" y="1369"/>
                    <a:pt x="1691" y="1369"/>
                  </a:cubicBezTo>
                  <a:cubicBezTo>
                    <a:pt x="1694" y="1366"/>
                    <a:pt x="1697" y="1364"/>
                    <a:pt x="1699" y="1363"/>
                  </a:cubicBezTo>
                  <a:cubicBezTo>
                    <a:pt x="1727" y="1337"/>
                    <a:pt x="1780" y="1208"/>
                    <a:pt x="1800" y="1158"/>
                  </a:cubicBezTo>
                  <a:cubicBezTo>
                    <a:pt x="1835" y="1136"/>
                    <a:pt x="1844" y="1098"/>
                    <a:pt x="1847" y="1082"/>
                  </a:cubicBezTo>
                  <a:cubicBezTo>
                    <a:pt x="1847" y="1080"/>
                    <a:pt x="1847" y="1079"/>
                    <a:pt x="1847" y="1077"/>
                  </a:cubicBezTo>
                  <a:cubicBezTo>
                    <a:pt x="1794" y="1102"/>
                    <a:pt x="1794" y="1102"/>
                    <a:pt x="1794" y="1102"/>
                  </a:cubicBezTo>
                  <a:cubicBezTo>
                    <a:pt x="1789" y="1110"/>
                    <a:pt x="1782" y="1118"/>
                    <a:pt x="1772" y="1123"/>
                  </a:cubicBezTo>
                  <a:cubicBezTo>
                    <a:pt x="1767" y="1125"/>
                    <a:pt x="1764" y="1130"/>
                    <a:pt x="1762" y="1135"/>
                  </a:cubicBezTo>
                  <a:cubicBezTo>
                    <a:pt x="1729" y="1218"/>
                    <a:pt x="1685" y="1316"/>
                    <a:pt x="1669" y="1330"/>
                  </a:cubicBezTo>
                  <a:cubicBezTo>
                    <a:pt x="1643" y="1354"/>
                    <a:pt x="1567" y="1402"/>
                    <a:pt x="1527" y="1402"/>
                  </a:cubicBezTo>
                  <a:cubicBezTo>
                    <a:pt x="1488" y="1402"/>
                    <a:pt x="1412" y="1354"/>
                    <a:pt x="1384" y="1330"/>
                  </a:cubicBezTo>
                  <a:cubicBezTo>
                    <a:pt x="1369" y="1316"/>
                    <a:pt x="1325" y="1218"/>
                    <a:pt x="1292" y="1135"/>
                  </a:cubicBezTo>
                  <a:cubicBezTo>
                    <a:pt x="1290" y="1130"/>
                    <a:pt x="1286" y="1125"/>
                    <a:pt x="1282" y="1123"/>
                  </a:cubicBezTo>
                  <a:cubicBezTo>
                    <a:pt x="1272" y="1118"/>
                    <a:pt x="1265" y="1110"/>
                    <a:pt x="1260" y="1102"/>
                  </a:cubicBezTo>
                  <a:cubicBezTo>
                    <a:pt x="1207" y="1077"/>
                    <a:pt x="1207" y="1077"/>
                    <a:pt x="1207" y="1077"/>
                  </a:cubicBezTo>
                  <a:cubicBezTo>
                    <a:pt x="1207" y="1079"/>
                    <a:pt x="1207" y="1081"/>
                    <a:pt x="1207" y="1084"/>
                  </a:cubicBezTo>
                  <a:cubicBezTo>
                    <a:pt x="1211" y="1103"/>
                    <a:pt x="1221" y="1137"/>
                    <a:pt x="1254" y="1158"/>
                  </a:cubicBezTo>
                  <a:cubicBezTo>
                    <a:pt x="1274" y="1208"/>
                    <a:pt x="1327" y="1337"/>
                    <a:pt x="1355" y="1363"/>
                  </a:cubicBezTo>
                  <a:cubicBezTo>
                    <a:pt x="1357" y="1364"/>
                    <a:pt x="1360" y="1366"/>
                    <a:pt x="1362" y="1368"/>
                  </a:cubicBezTo>
                  <a:cubicBezTo>
                    <a:pt x="1362" y="1415"/>
                    <a:pt x="1362" y="1415"/>
                    <a:pt x="1362" y="1415"/>
                  </a:cubicBezTo>
                  <a:cubicBezTo>
                    <a:pt x="1364" y="1416"/>
                    <a:pt x="1364" y="1416"/>
                    <a:pt x="1364" y="1416"/>
                  </a:cubicBezTo>
                  <a:cubicBezTo>
                    <a:pt x="1364" y="1417"/>
                    <a:pt x="1382" y="1431"/>
                    <a:pt x="1406" y="1451"/>
                  </a:cubicBezTo>
                  <a:cubicBezTo>
                    <a:pt x="1406" y="1400"/>
                    <a:pt x="1406" y="1400"/>
                    <a:pt x="1406" y="1400"/>
                  </a:cubicBezTo>
                  <a:cubicBezTo>
                    <a:pt x="1443" y="1423"/>
                    <a:pt x="1491" y="1446"/>
                    <a:pt x="1527" y="1446"/>
                  </a:cubicBezTo>
                  <a:cubicBezTo>
                    <a:pt x="1564" y="1446"/>
                    <a:pt x="1612" y="1423"/>
                    <a:pt x="1647" y="1400"/>
                  </a:cubicBezTo>
                  <a:cubicBezTo>
                    <a:pt x="1647" y="1451"/>
                    <a:pt x="1647" y="1451"/>
                    <a:pt x="1647" y="1451"/>
                  </a:cubicBezTo>
                  <a:cubicBezTo>
                    <a:pt x="1673" y="1431"/>
                    <a:pt x="1690" y="1416"/>
                    <a:pt x="1690" y="1416"/>
                  </a:cubicBezTo>
                  <a:close/>
                  <a:moveTo>
                    <a:pt x="1363" y="274"/>
                  </a:moveTo>
                  <a:cubicBezTo>
                    <a:pt x="1355" y="283"/>
                    <a:pt x="1356" y="297"/>
                    <a:pt x="1365" y="305"/>
                  </a:cubicBezTo>
                  <a:cubicBezTo>
                    <a:pt x="1375" y="313"/>
                    <a:pt x="1388" y="311"/>
                    <a:pt x="1396" y="302"/>
                  </a:cubicBezTo>
                  <a:cubicBezTo>
                    <a:pt x="1430" y="263"/>
                    <a:pt x="1478" y="240"/>
                    <a:pt x="1530" y="240"/>
                  </a:cubicBezTo>
                  <a:cubicBezTo>
                    <a:pt x="1582" y="240"/>
                    <a:pt x="1631" y="263"/>
                    <a:pt x="1663" y="302"/>
                  </a:cubicBezTo>
                  <a:cubicBezTo>
                    <a:pt x="1667" y="307"/>
                    <a:pt x="1673" y="310"/>
                    <a:pt x="1680" y="310"/>
                  </a:cubicBezTo>
                  <a:cubicBezTo>
                    <a:pt x="1685" y="310"/>
                    <a:pt x="1690" y="308"/>
                    <a:pt x="1694" y="305"/>
                  </a:cubicBezTo>
                  <a:cubicBezTo>
                    <a:pt x="1703" y="297"/>
                    <a:pt x="1704" y="283"/>
                    <a:pt x="1697" y="274"/>
                  </a:cubicBezTo>
                  <a:cubicBezTo>
                    <a:pt x="1655" y="223"/>
                    <a:pt x="1595" y="195"/>
                    <a:pt x="1530" y="195"/>
                  </a:cubicBezTo>
                  <a:cubicBezTo>
                    <a:pt x="1465" y="195"/>
                    <a:pt x="1404" y="223"/>
                    <a:pt x="1363" y="274"/>
                  </a:cubicBezTo>
                  <a:close/>
                  <a:moveTo>
                    <a:pt x="928" y="691"/>
                  </a:moveTo>
                  <a:cubicBezTo>
                    <a:pt x="962" y="652"/>
                    <a:pt x="1010" y="629"/>
                    <a:pt x="1062" y="629"/>
                  </a:cubicBezTo>
                  <a:cubicBezTo>
                    <a:pt x="1114" y="629"/>
                    <a:pt x="1162" y="652"/>
                    <a:pt x="1196" y="691"/>
                  </a:cubicBezTo>
                  <a:cubicBezTo>
                    <a:pt x="1200" y="696"/>
                    <a:pt x="1206" y="699"/>
                    <a:pt x="1213" y="699"/>
                  </a:cubicBezTo>
                  <a:cubicBezTo>
                    <a:pt x="1218" y="699"/>
                    <a:pt x="1223" y="697"/>
                    <a:pt x="1227" y="694"/>
                  </a:cubicBezTo>
                  <a:cubicBezTo>
                    <a:pt x="1236" y="686"/>
                    <a:pt x="1237" y="672"/>
                    <a:pt x="1229" y="663"/>
                  </a:cubicBezTo>
                  <a:cubicBezTo>
                    <a:pt x="1188" y="613"/>
                    <a:pt x="1127" y="585"/>
                    <a:pt x="1062" y="585"/>
                  </a:cubicBezTo>
                  <a:cubicBezTo>
                    <a:pt x="997" y="585"/>
                    <a:pt x="936" y="613"/>
                    <a:pt x="895" y="663"/>
                  </a:cubicBezTo>
                  <a:cubicBezTo>
                    <a:pt x="887" y="672"/>
                    <a:pt x="888" y="686"/>
                    <a:pt x="897" y="694"/>
                  </a:cubicBezTo>
                  <a:cubicBezTo>
                    <a:pt x="907" y="702"/>
                    <a:pt x="920" y="700"/>
                    <a:pt x="928" y="691"/>
                  </a:cubicBezTo>
                  <a:close/>
                  <a:moveTo>
                    <a:pt x="716" y="1458"/>
                  </a:moveTo>
                  <a:cubicBezTo>
                    <a:pt x="716" y="1458"/>
                    <a:pt x="716" y="1458"/>
                    <a:pt x="716" y="1400"/>
                  </a:cubicBezTo>
                  <a:cubicBezTo>
                    <a:pt x="710" y="1404"/>
                    <a:pt x="704" y="1408"/>
                    <a:pt x="697" y="1411"/>
                  </a:cubicBezTo>
                  <a:cubicBezTo>
                    <a:pt x="695" y="1422"/>
                    <a:pt x="695" y="1422"/>
                    <a:pt x="695" y="1422"/>
                  </a:cubicBezTo>
                  <a:cubicBezTo>
                    <a:pt x="695" y="1422"/>
                    <a:pt x="695" y="1422"/>
                    <a:pt x="691" y="1432"/>
                  </a:cubicBezTo>
                  <a:cubicBezTo>
                    <a:pt x="686" y="1436"/>
                    <a:pt x="682" y="1439"/>
                    <a:pt x="677" y="1442"/>
                  </a:cubicBezTo>
                  <a:cubicBezTo>
                    <a:pt x="644" y="1463"/>
                    <a:pt x="607" y="1463"/>
                    <a:pt x="570" y="1458"/>
                  </a:cubicBezTo>
                  <a:cubicBezTo>
                    <a:pt x="546" y="1455"/>
                    <a:pt x="528" y="1445"/>
                    <a:pt x="508" y="1429"/>
                  </a:cubicBezTo>
                  <a:cubicBezTo>
                    <a:pt x="506" y="1427"/>
                    <a:pt x="504" y="1426"/>
                    <a:pt x="502" y="1424"/>
                  </a:cubicBezTo>
                  <a:cubicBezTo>
                    <a:pt x="502" y="1424"/>
                    <a:pt x="502" y="1424"/>
                    <a:pt x="500" y="1417"/>
                  </a:cubicBezTo>
                  <a:cubicBezTo>
                    <a:pt x="500" y="1415"/>
                    <a:pt x="500" y="1415"/>
                    <a:pt x="500" y="1415"/>
                  </a:cubicBezTo>
                  <a:cubicBezTo>
                    <a:pt x="491" y="1410"/>
                    <a:pt x="482" y="1405"/>
                    <a:pt x="474" y="1400"/>
                  </a:cubicBezTo>
                  <a:cubicBezTo>
                    <a:pt x="474" y="1400"/>
                    <a:pt x="474" y="1400"/>
                    <a:pt x="474" y="1458"/>
                  </a:cubicBezTo>
                  <a:cubicBezTo>
                    <a:pt x="451" y="1441"/>
                    <a:pt x="440" y="1426"/>
                    <a:pt x="439" y="1424"/>
                  </a:cubicBezTo>
                  <a:cubicBezTo>
                    <a:pt x="439" y="1424"/>
                    <a:pt x="439" y="1424"/>
                    <a:pt x="430" y="1412"/>
                  </a:cubicBezTo>
                  <a:cubicBezTo>
                    <a:pt x="430" y="1412"/>
                    <a:pt x="430" y="1412"/>
                    <a:pt x="430" y="1369"/>
                  </a:cubicBezTo>
                  <a:cubicBezTo>
                    <a:pt x="427" y="1366"/>
                    <a:pt x="424" y="1364"/>
                    <a:pt x="422" y="1363"/>
                  </a:cubicBezTo>
                  <a:cubicBezTo>
                    <a:pt x="394" y="1337"/>
                    <a:pt x="341" y="1208"/>
                    <a:pt x="321" y="1158"/>
                  </a:cubicBezTo>
                  <a:cubicBezTo>
                    <a:pt x="288" y="1137"/>
                    <a:pt x="278" y="1103"/>
                    <a:pt x="274" y="1084"/>
                  </a:cubicBezTo>
                  <a:cubicBezTo>
                    <a:pt x="274" y="1081"/>
                    <a:pt x="274" y="1079"/>
                    <a:pt x="274" y="1077"/>
                  </a:cubicBezTo>
                  <a:cubicBezTo>
                    <a:pt x="274" y="1077"/>
                    <a:pt x="274" y="1077"/>
                    <a:pt x="327" y="1102"/>
                  </a:cubicBezTo>
                  <a:cubicBezTo>
                    <a:pt x="332" y="1110"/>
                    <a:pt x="338" y="1118"/>
                    <a:pt x="349" y="1123"/>
                  </a:cubicBezTo>
                  <a:cubicBezTo>
                    <a:pt x="353" y="1125"/>
                    <a:pt x="357" y="1130"/>
                    <a:pt x="359" y="1135"/>
                  </a:cubicBezTo>
                  <a:cubicBezTo>
                    <a:pt x="392" y="1218"/>
                    <a:pt x="436" y="1316"/>
                    <a:pt x="451" y="1330"/>
                  </a:cubicBezTo>
                  <a:cubicBezTo>
                    <a:pt x="461" y="1338"/>
                    <a:pt x="476" y="1349"/>
                    <a:pt x="494" y="1360"/>
                  </a:cubicBezTo>
                  <a:cubicBezTo>
                    <a:pt x="489" y="1333"/>
                    <a:pt x="485" y="1303"/>
                    <a:pt x="480" y="1275"/>
                  </a:cubicBezTo>
                  <a:cubicBezTo>
                    <a:pt x="475" y="1243"/>
                    <a:pt x="479" y="1234"/>
                    <a:pt x="511" y="1224"/>
                  </a:cubicBezTo>
                  <a:cubicBezTo>
                    <a:pt x="518" y="1222"/>
                    <a:pt x="525" y="1220"/>
                    <a:pt x="532" y="1219"/>
                  </a:cubicBezTo>
                  <a:cubicBezTo>
                    <a:pt x="547" y="1217"/>
                    <a:pt x="562" y="1215"/>
                    <a:pt x="581" y="1212"/>
                  </a:cubicBezTo>
                  <a:cubicBezTo>
                    <a:pt x="581" y="1212"/>
                    <a:pt x="581" y="1212"/>
                    <a:pt x="621" y="1212"/>
                  </a:cubicBezTo>
                  <a:cubicBezTo>
                    <a:pt x="621" y="1212"/>
                    <a:pt x="621" y="1212"/>
                    <a:pt x="622" y="1213"/>
                  </a:cubicBezTo>
                  <a:cubicBezTo>
                    <a:pt x="624" y="1213"/>
                    <a:pt x="627" y="1213"/>
                    <a:pt x="629" y="1214"/>
                  </a:cubicBezTo>
                  <a:cubicBezTo>
                    <a:pt x="655" y="1219"/>
                    <a:pt x="680" y="1223"/>
                    <a:pt x="704" y="1230"/>
                  </a:cubicBezTo>
                  <a:cubicBezTo>
                    <a:pt x="719" y="1234"/>
                    <a:pt x="726" y="1247"/>
                    <a:pt x="722" y="1263"/>
                  </a:cubicBezTo>
                  <a:cubicBezTo>
                    <a:pt x="718" y="1283"/>
                    <a:pt x="715" y="1303"/>
                    <a:pt x="712" y="1323"/>
                  </a:cubicBezTo>
                  <a:cubicBezTo>
                    <a:pt x="710" y="1332"/>
                    <a:pt x="709" y="1342"/>
                    <a:pt x="708" y="1352"/>
                  </a:cubicBezTo>
                  <a:cubicBezTo>
                    <a:pt x="720" y="1344"/>
                    <a:pt x="730" y="1336"/>
                    <a:pt x="737" y="1330"/>
                  </a:cubicBezTo>
                  <a:cubicBezTo>
                    <a:pt x="753" y="1316"/>
                    <a:pt x="797" y="1218"/>
                    <a:pt x="830" y="1135"/>
                  </a:cubicBezTo>
                  <a:cubicBezTo>
                    <a:pt x="832" y="1130"/>
                    <a:pt x="835" y="1125"/>
                    <a:pt x="840" y="1123"/>
                  </a:cubicBezTo>
                  <a:cubicBezTo>
                    <a:pt x="850" y="1118"/>
                    <a:pt x="857" y="1110"/>
                    <a:pt x="862" y="1102"/>
                  </a:cubicBezTo>
                  <a:cubicBezTo>
                    <a:pt x="862" y="1102"/>
                    <a:pt x="862" y="1102"/>
                    <a:pt x="915" y="1077"/>
                  </a:cubicBezTo>
                  <a:cubicBezTo>
                    <a:pt x="915" y="1079"/>
                    <a:pt x="915" y="1080"/>
                    <a:pt x="915" y="1082"/>
                  </a:cubicBezTo>
                  <a:cubicBezTo>
                    <a:pt x="912" y="1098"/>
                    <a:pt x="903" y="1136"/>
                    <a:pt x="868" y="1158"/>
                  </a:cubicBezTo>
                  <a:cubicBezTo>
                    <a:pt x="848" y="1208"/>
                    <a:pt x="795" y="1337"/>
                    <a:pt x="767" y="1363"/>
                  </a:cubicBezTo>
                  <a:cubicBezTo>
                    <a:pt x="765" y="1364"/>
                    <a:pt x="762" y="1366"/>
                    <a:pt x="760" y="1368"/>
                  </a:cubicBezTo>
                  <a:cubicBezTo>
                    <a:pt x="760" y="1368"/>
                    <a:pt x="760" y="1368"/>
                    <a:pt x="760" y="1412"/>
                  </a:cubicBezTo>
                  <a:cubicBezTo>
                    <a:pt x="760" y="1412"/>
                    <a:pt x="760" y="1412"/>
                    <a:pt x="750" y="1424"/>
                  </a:cubicBezTo>
                  <a:cubicBezTo>
                    <a:pt x="750" y="1425"/>
                    <a:pt x="739" y="1441"/>
                    <a:pt x="716" y="1458"/>
                  </a:cubicBezTo>
                  <a:close/>
                  <a:moveTo>
                    <a:pt x="522" y="1368"/>
                  </a:moveTo>
                  <a:cubicBezTo>
                    <a:pt x="528" y="1384"/>
                    <a:pt x="545" y="1389"/>
                    <a:pt x="561" y="1384"/>
                  </a:cubicBezTo>
                  <a:cubicBezTo>
                    <a:pt x="575" y="1379"/>
                    <a:pt x="573" y="1367"/>
                    <a:pt x="573" y="1356"/>
                  </a:cubicBezTo>
                  <a:cubicBezTo>
                    <a:pt x="573" y="1351"/>
                    <a:pt x="573" y="1346"/>
                    <a:pt x="573" y="1341"/>
                  </a:cubicBezTo>
                  <a:cubicBezTo>
                    <a:pt x="574" y="1332"/>
                    <a:pt x="572" y="1324"/>
                    <a:pt x="562" y="1319"/>
                  </a:cubicBezTo>
                  <a:cubicBezTo>
                    <a:pt x="556" y="1316"/>
                    <a:pt x="552" y="1307"/>
                    <a:pt x="549" y="1302"/>
                  </a:cubicBezTo>
                  <a:cubicBezTo>
                    <a:pt x="585" y="1302"/>
                    <a:pt x="617" y="1302"/>
                    <a:pt x="653" y="1302"/>
                  </a:cubicBezTo>
                  <a:cubicBezTo>
                    <a:pt x="647" y="1309"/>
                    <a:pt x="642" y="1314"/>
                    <a:pt x="637" y="1320"/>
                  </a:cubicBezTo>
                  <a:cubicBezTo>
                    <a:pt x="634" y="1323"/>
                    <a:pt x="628" y="1326"/>
                    <a:pt x="628" y="1329"/>
                  </a:cubicBezTo>
                  <a:cubicBezTo>
                    <a:pt x="627" y="1343"/>
                    <a:pt x="627" y="1357"/>
                    <a:pt x="628" y="1372"/>
                  </a:cubicBezTo>
                  <a:cubicBezTo>
                    <a:pt x="629" y="1376"/>
                    <a:pt x="633" y="1381"/>
                    <a:pt x="637" y="1383"/>
                  </a:cubicBezTo>
                  <a:cubicBezTo>
                    <a:pt x="641" y="1385"/>
                    <a:pt x="645" y="1386"/>
                    <a:pt x="649" y="1386"/>
                  </a:cubicBezTo>
                  <a:cubicBezTo>
                    <a:pt x="661" y="1386"/>
                    <a:pt x="674" y="1380"/>
                    <a:pt x="679" y="1370"/>
                  </a:cubicBezTo>
                  <a:cubicBezTo>
                    <a:pt x="679" y="1370"/>
                    <a:pt x="679" y="1370"/>
                    <a:pt x="679" y="1370"/>
                  </a:cubicBezTo>
                  <a:cubicBezTo>
                    <a:pt x="689" y="1339"/>
                    <a:pt x="698" y="1309"/>
                    <a:pt x="709" y="1277"/>
                  </a:cubicBezTo>
                  <a:cubicBezTo>
                    <a:pt x="635" y="1277"/>
                    <a:pt x="565" y="1277"/>
                    <a:pt x="491" y="1277"/>
                  </a:cubicBezTo>
                  <a:cubicBezTo>
                    <a:pt x="502" y="1309"/>
                    <a:pt x="511" y="1339"/>
                    <a:pt x="522" y="1368"/>
                  </a:cubicBezTo>
                  <a:close/>
                  <a:moveTo>
                    <a:pt x="1162" y="107"/>
                  </a:moveTo>
                  <a:cubicBezTo>
                    <a:pt x="1196" y="67"/>
                    <a:pt x="1244" y="44"/>
                    <a:pt x="1296" y="44"/>
                  </a:cubicBezTo>
                  <a:cubicBezTo>
                    <a:pt x="1348" y="44"/>
                    <a:pt x="1397" y="67"/>
                    <a:pt x="1430" y="107"/>
                  </a:cubicBezTo>
                  <a:cubicBezTo>
                    <a:pt x="1434" y="112"/>
                    <a:pt x="1440" y="114"/>
                    <a:pt x="1447" y="114"/>
                  </a:cubicBezTo>
                  <a:cubicBezTo>
                    <a:pt x="1452" y="114"/>
                    <a:pt x="1457" y="113"/>
                    <a:pt x="1461" y="109"/>
                  </a:cubicBezTo>
                  <a:cubicBezTo>
                    <a:pt x="1470" y="101"/>
                    <a:pt x="1471" y="88"/>
                    <a:pt x="1464" y="78"/>
                  </a:cubicBezTo>
                  <a:cubicBezTo>
                    <a:pt x="1422" y="29"/>
                    <a:pt x="1361" y="0"/>
                    <a:pt x="1296" y="0"/>
                  </a:cubicBezTo>
                  <a:cubicBezTo>
                    <a:pt x="1231" y="0"/>
                    <a:pt x="1170" y="29"/>
                    <a:pt x="1129" y="78"/>
                  </a:cubicBezTo>
                  <a:cubicBezTo>
                    <a:pt x="1121" y="88"/>
                    <a:pt x="1122" y="101"/>
                    <a:pt x="1131" y="109"/>
                  </a:cubicBezTo>
                  <a:cubicBezTo>
                    <a:pt x="1141" y="117"/>
                    <a:pt x="1154" y="116"/>
                    <a:pt x="1162" y="107"/>
                  </a:cubicBezTo>
                  <a:close/>
                  <a:moveTo>
                    <a:pt x="1041" y="1493"/>
                  </a:moveTo>
                  <a:cubicBezTo>
                    <a:pt x="951" y="1452"/>
                    <a:pt x="786" y="1450"/>
                    <a:pt x="786" y="1450"/>
                  </a:cubicBezTo>
                  <a:cubicBezTo>
                    <a:pt x="786" y="1450"/>
                    <a:pt x="722" y="1540"/>
                    <a:pt x="595" y="1542"/>
                  </a:cubicBezTo>
                  <a:cubicBezTo>
                    <a:pt x="596" y="1542"/>
                    <a:pt x="597" y="1542"/>
                    <a:pt x="598" y="1542"/>
                  </a:cubicBezTo>
                  <a:cubicBezTo>
                    <a:pt x="598" y="1542"/>
                    <a:pt x="598" y="1542"/>
                    <a:pt x="591" y="1542"/>
                  </a:cubicBezTo>
                  <a:cubicBezTo>
                    <a:pt x="592" y="1542"/>
                    <a:pt x="593" y="1542"/>
                    <a:pt x="595" y="1542"/>
                  </a:cubicBezTo>
                  <a:cubicBezTo>
                    <a:pt x="467" y="1540"/>
                    <a:pt x="403" y="1450"/>
                    <a:pt x="403" y="1450"/>
                  </a:cubicBezTo>
                  <a:cubicBezTo>
                    <a:pt x="403" y="1450"/>
                    <a:pt x="238" y="1452"/>
                    <a:pt x="149" y="1493"/>
                  </a:cubicBezTo>
                  <a:cubicBezTo>
                    <a:pt x="119" y="1507"/>
                    <a:pt x="93" y="1535"/>
                    <a:pt x="71" y="1568"/>
                  </a:cubicBezTo>
                  <a:cubicBezTo>
                    <a:pt x="24" y="1640"/>
                    <a:pt x="0" y="1725"/>
                    <a:pt x="0" y="1812"/>
                  </a:cubicBezTo>
                  <a:cubicBezTo>
                    <a:pt x="0" y="1815"/>
                    <a:pt x="0" y="1815"/>
                    <a:pt x="0" y="1815"/>
                  </a:cubicBezTo>
                  <a:cubicBezTo>
                    <a:pt x="0" y="1827"/>
                    <a:pt x="10" y="1837"/>
                    <a:pt x="22" y="1837"/>
                  </a:cubicBezTo>
                  <a:cubicBezTo>
                    <a:pt x="1168" y="1837"/>
                    <a:pt x="1168" y="1837"/>
                    <a:pt x="1168" y="1837"/>
                  </a:cubicBezTo>
                  <a:cubicBezTo>
                    <a:pt x="1180" y="1837"/>
                    <a:pt x="1190" y="1827"/>
                    <a:pt x="1190" y="1815"/>
                  </a:cubicBezTo>
                  <a:cubicBezTo>
                    <a:pt x="1190" y="1812"/>
                    <a:pt x="1190" y="1812"/>
                    <a:pt x="1190" y="1812"/>
                  </a:cubicBezTo>
                  <a:cubicBezTo>
                    <a:pt x="1190" y="1725"/>
                    <a:pt x="1166" y="1640"/>
                    <a:pt x="1118" y="1568"/>
                  </a:cubicBezTo>
                  <a:cubicBezTo>
                    <a:pt x="1096" y="1535"/>
                    <a:pt x="1070" y="1507"/>
                    <a:pt x="1041" y="1493"/>
                  </a:cubicBezTo>
                  <a:close/>
                  <a:moveTo>
                    <a:pt x="195" y="499"/>
                  </a:moveTo>
                  <a:cubicBezTo>
                    <a:pt x="204" y="507"/>
                    <a:pt x="218" y="506"/>
                    <a:pt x="226" y="497"/>
                  </a:cubicBezTo>
                  <a:cubicBezTo>
                    <a:pt x="259" y="457"/>
                    <a:pt x="308" y="434"/>
                    <a:pt x="360" y="434"/>
                  </a:cubicBezTo>
                  <a:cubicBezTo>
                    <a:pt x="412" y="434"/>
                    <a:pt x="460" y="457"/>
                    <a:pt x="494" y="497"/>
                  </a:cubicBezTo>
                  <a:cubicBezTo>
                    <a:pt x="498" y="502"/>
                    <a:pt x="504" y="504"/>
                    <a:pt x="511" y="504"/>
                  </a:cubicBezTo>
                  <a:cubicBezTo>
                    <a:pt x="515" y="504"/>
                    <a:pt x="521" y="503"/>
                    <a:pt x="525" y="499"/>
                  </a:cubicBezTo>
                  <a:cubicBezTo>
                    <a:pt x="534" y="492"/>
                    <a:pt x="535" y="478"/>
                    <a:pt x="527" y="468"/>
                  </a:cubicBezTo>
                  <a:cubicBezTo>
                    <a:pt x="486" y="419"/>
                    <a:pt x="425" y="390"/>
                    <a:pt x="360" y="390"/>
                  </a:cubicBezTo>
                  <a:cubicBezTo>
                    <a:pt x="295" y="390"/>
                    <a:pt x="234" y="419"/>
                    <a:pt x="192" y="468"/>
                  </a:cubicBezTo>
                  <a:cubicBezTo>
                    <a:pt x="185" y="478"/>
                    <a:pt x="186" y="492"/>
                    <a:pt x="195" y="499"/>
                  </a:cubicBezTo>
                  <a:close/>
                  <a:moveTo>
                    <a:pt x="2050" y="1568"/>
                  </a:moveTo>
                  <a:cubicBezTo>
                    <a:pt x="2028" y="1535"/>
                    <a:pt x="2002" y="1507"/>
                    <a:pt x="1972" y="1493"/>
                  </a:cubicBezTo>
                  <a:cubicBezTo>
                    <a:pt x="1883" y="1452"/>
                    <a:pt x="1718" y="1450"/>
                    <a:pt x="1718" y="1450"/>
                  </a:cubicBezTo>
                  <a:cubicBezTo>
                    <a:pt x="1718" y="1450"/>
                    <a:pt x="1613" y="1538"/>
                    <a:pt x="1532" y="1603"/>
                  </a:cubicBezTo>
                  <a:cubicBezTo>
                    <a:pt x="1529" y="1605"/>
                    <a:pt x="1526" y="1605"/>
                    <a:pt x="1523" y="1603"/>
                  </a:cubicBezTo>
                  <a:cubicBezTo>
                    <a:pt x="1463" y="1556"/>
                    <a:pt x="1336" y="1450"/>
                    <a:pt x="1336" y="1450"/>
                  </a:cubicBezTo>
                  <a:cubicBezTo>
                    <a:pt x="1336" y="1450"/>
                    <a:pt x="1196" y="1452"/>
                    <a:pt x="1104" y="1484"/>
                  </a:cubicBezTo>
                  <a:cubicBezTo>
                    <a:pt x="1122" y="1500"/>
                    <a:pt x="1138" y="1520"/>
                    <a:pt x="1154" y="1544"/>
                  </a:cubicBezTo>
                  <a:cubicBezTo>
                    <a:pt x="1207" y="1622"/>
                    <a:pt x="1234" y="1715"/>
                    <a:pt x="1234" y="1812"/>
                  </a:cubicBezTo>
                  <a:cubicBezTo>
                    <a:pt x="1234" y="1815"/>
                    <a:pt x="1234" y="1815"/>
                    <a:pt x="1234" y="1815"/>
                  </a:cubicBezTo>
                  <a:cubicBezTo>
                    <a:pt x="1234" y="1822"/>
                    <a:pt x="1233" y="1830"/>
                    <a:pt x="1230" y="1837"/>
                  </a:cubicBezTo>
                  <a:cubicBezTo>
                    <a:pt x="2100" y="1837"/>
                    <a:pt x="2100" y="1837"/>
                    <a:pt x="2100" y="1837"/>
                  </a:cubicBezTo>
                  <a:cubicBezTo>
                    <a:pt x="2112" y="1837"/>
                    <a:pt x="2122" y="1827"/>
                    <a:pt x="2122" y="1815"/>
                  </a:cubicBezTo>
                  <a:cubicBezTo>
                    <a:pt x="2122" y="1812"/>
                    <a:pt x="2122" y="1812"/>
                    <a:pt x="2122" y="1812"/>
                  </a:cubicBezTo>
                  <a:cubicBezTo>
                    <a:pt x="2122" y="1725"/>
                    <a:pt x="2098" y="1640"/>
                    <a:pt x="2050" y="1568"/>
                  </a:cubicBezTo>
                  <a:close/>
                  <a:moveTo>
                    <a:pt x="68" y="694"/>
                  </a:moveTo>
                  <a:cubicBezTo>
                    <a:pt x="77" y="702"/>
                    <a:pt x="91" y="700"/>
                    <a:pt x="99" y="691"/>
                  </a:cubicBezTo>
                  <a:cubicBezTo>
                    <a:pt x="132" y="652"/>
                    <a:pt x="181" y="629"/>
                    <a:pt x="232" y="629"/>
                  </a:cubicBezTo>
                  <a:cubicBezTo>
                    <a:pt x="273" y="629"/>
                    <a:pt x="312" y="643"/>
                    <a:pt x="343" y="668"/>
                  </a:cubicBezTo>
                  <a:cubicBezTo>
                    <a:pt x="354" y="658"/>
                    <a:pt x="365" y="648"/>
                    <a:pt x="376" y="639"/>
                  </a:cubicBezTo>
                  <a:cubicBezTo>
                    <a:pt x="337" y="604"/>
                    <a:pt x="286" y="585"/>
                    <a:pt x="232" y="585"/>
                  </a:cubicBezTo>
                  <a:cubicBezTo>
                    <a:pt x="168" y="585"/>
                    <a:pt x="107" y="613"/>
                    <a:pt x="65" y="663"/>
                  </a:cubicBezTo>
                  <a:cubicBezTo>
                    <a:pt x="57" y="672"/>
                    <a:pt x="58" y="686"/>
                    <a:pt x="68" y="694"/>
                  </a:cubicBezTo>
                  <a:close/>
                  <a:moveTo>
                    <a:pt x="460" y="302"/>
                  </a:moveTo>
                  <a:cubicBezTo>
                    <a:pt x="493" y="263"/>
                    <a:pt x="542" y="240"/>
                    <a:pt x="594" y="240"/>
                  </a:cubicBezTo>
                  <a:cubicBezTo>
                    <a:pt x="646" y="240"/>
                    <a:pt x="694" y="263"/>
                    <a:pt x="728" y="302"/>
                  </a:cubicBezTo>
                  <a:cubicBezTo>
                    <a:pt x="732" y="307"/>
                    <a:pt x="738" y="310"/>
                    <a:pt x="745" y="310"/>
                  </a:cubicBezTo>
                  <a:cubicBezTo>
                    <a:pt x="750" y="310"/>
                    <a:pt x="755" y="308"/>
                    <a:pt x="759" y="305"/>
                  </a:cubicBezTo>
                  <a:cubicBezTo>
                    <a:pt x="768" y="297"/>
                    <a:pt x="769" y="283"/>
                    <a:pt x="761" y="274"/>
                  </a:cubicBezTo>
                  <a:cubicBezTo>
                    <a:pt x="720" y="223"/>
                    <a:pt x="659" y="195"/>
                    <a:pt x="594" y="195"/>
                  </a:cubicBezTo>
                  <a:cubicBezTo>
                    <a:pt x="529" y="195"/>
                    <a:pt x="468" y="223"/>
                    <a:pt x="426" y="274"/>
                  </a:cubicBezTo>
                  <a:cubicBezTo>
                    <a:pt x="419" y="283"/>
                    <a:pt x="420" y="297"/>
                    <a:pt x="429" y="305"/>
                  </a:cubicBezTo>
                  <a:cubicBezTo>
                    <a:pt x="438" y="313"/>
                    <a:pt x="452" y="311"/>
                    <a:pt x="460" y="302"/>
                  </a:cubicBezTo>
                  <a:close/>
                  <a:moveTo>
                    <a:pt x="895" y="274"/>
                  </a:moveTo>
                  <a:cubicBezTo>
                    <a:pt x="887" y="283"/>
                    <a:pt x="888" y="297"/>
                    <a:pt x="897" y="305"/>
                  </a:cubicBezTo>
                  <a:cubicBezTo>
                    <a:pt x="907" y="313"/>
                    <a:pt x="920" y="311"/>
                    <a:pt x="928" y="302"/>
                  </a:cubicBezTo>
                  <a:cubicBezTo>
                    <a:pt x="962" y="263"/>
                    <a:pt x="1010" y="240"/>
                    <a:pt x="1062" y="240"/>
                  </a:cubicBezTo>
                  <a:cubicBezTo>
                    <a:pt x="1114" y="240"/>
                    <a:pt x="1162" y="263"/>
                    <a:pt x="1196" y="302"/>
                  </a:cubicBezTo>
                  <a:cubicBezTo>
                    <a:pt x="1200" y="307"/>
                    <a:pt x="1206" y="310"/>
                    <a:pt x="1213" y="310"/>
                  </a:cubicBezTo>
                  <a:cubicBezTo>
                    <a:pt x="1218" y="310"/>
                    <a:pt x="1223" y="308"/>
                    <a:pt x="1227" y="305"/>
                  </a:cubicBezTo>
                  <a:cubicBezTo>
                    <a:pt x="1236" y="297"/>
                    <a:pt x="1237" y="283"/>
                    <a:pt x="1229" y="274"/>
                  </a:cubicBezTo>
                  <a:cubicBezTo>
                    <a:pt x="1188" y="223"/>
                    <a:pt x="1127" y="195"/>
                    <a:pt x="1062" y="195"/>
                  </a:cubicBezTo>
                  <a:cubicBezTo>
                    <a:pt x="997" y="195"/>
                    <a:pt x="936" y="223"/>
                    <a:pt x="895" y="274"/>
                  </a:cubicBezTo>
                  <a:close/>
                  <a:moveTo>
                    <a:pt x="694" y="107"/>
                  </a:moveTo>
                  <a:cubicBezTo>
                    <a:pt x="727" y="67"/>
                    <a:pt x="776" y="44"/>
                    <a:pt x="828" y="44"/>
                  </a:cubicBezTo>
                  <a:cubicBezTo>
                    <a:pt x="880" y="44"/>
                    <a:pt x="928" y="67"/>
                    <a:pt x="962" y="107"/>
                  </a:cubicBezTo>
                  <a:cubicBezTo>
                    <a:pt x="966" y="112"/>
                    <a:pt x="972" y="114"/>
                    <a:pt x="979" y="114"/>
                  </a:cubicBezTo>
                  <a:cubicBezTo>
                    <a:pt x="984" y="114"/>
                    <a:pt x="989" y="113"/>
                    <a:pt x="993" y="109"/>
                  </a:cubicBezTo>
                  <a:cubicBezTo>
                    <a:pt x="1002" y="101"/>
                    <a:pt x="1003" y="88"/>
                    <a:pt x="995" y="78"/>
                  </a:cubicBezTo>
                  <a:cubicBezTo>
                    <a:pt x="954" y="29"/>
                    <a:pt x="893" y="0"/>
                    <a:pt x="828" y="0"/>
                  </a:cubicBezTo>
                  <a:cubicBezTo>
                    <a:pt x="763" y="0"/>
                    <a:pt x="702" y="29"/>
                    <a:pt x="660" y="78"/>
                  </a:cubicBezTo>
                  <a:cubicBezTo>
                    <a:pt x="653" y="88"/>
                    <a:pt x="654" y="101"/>
                    <a:pt x="663" y="109"/>
                  </a:cubicBezTo>
                  <a:cubicBezTo>
                    <a:pt x="672" y="117"/>
                    <a:pt x="686" y="116"/>
                    <a:pt x="694" y="10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1" name="Group 110">
            <a:extLst>
              <a:ext uri="{FF2B5EF4-FFF2-40B4-BE49-F238E27FC236}">
                <a16:creationId xmlns:a16="http://schemas.microsoft.com/office/drawing/2014/main" id="{E209D9D7-0BCF-4BFF-585A-5306BDF9BE27}"/>
              </a:ext>
            </a:extLst>
          </p:cNvPr>
          <p:cNvGrpSpPr/>
          <p:nvPr/>
        </p:nvGrpSpPr>
        <p:grpSpPr>
          <a:xfrm>
            <a:off x="6169062" y="1328312"/>
            <a:ext cx="471124" cy="462558"/>
            <a:chOff x="-3405932" y="3357810"/>
            <a:chExt cx="471124" cy="462558"/>
          </a:xfrm>
        </p:grpSpPr>
        <p:sp>
          <p:nvSpPr>
            <p:cNvPr id="48" name="Freeform 10">
              <a:extLst>
                <a:ext uri="{FF2B5EF4-FFF2-40B4-BE49-F238E27FC236}">
                  <a16:creationId xmlns:a16="http://schemas.microsoft.com/office/drawing/2014/main" id="{B59090B6-3443-81E8-C25F-3862F953F2EF}"/>
                </a:ext>
              </a:extLst>
            </p:cNvPr>
            <p:cNvSpPr>
              <a:spLocks/>
            </p:cNvSpPr>
            <p:nvPr/>
          </p:nvSpPr>
          <p:spPr bwMode="auto">
            <a:xfrm>
              <a:off x="-3298918" y="3383907"/>
              <a:ext cx="338009" cy="138311"/>
            </a:xfrm>
            <a:custGeom>
              <a:avLst/>
              <a:gdLst>
                <a:gd name="connsiteX0" fmla="*/ 485775 w 822325"/>
                <a:gd name="connsiteY0" fmla="*/ 0 h 336550"/>
                <a:gd name="connsiteX1" fmla="*/ 779453 w 822325"/>
                <a:gd name="connsiteY1" fmla="*/ 0 h 336550"/>
                <a:gd name="connsiteX2" fmla="*/ 822325 w 822325"/>
                <a:gd name="connsiteY2" fmla="*/ 39134 h 336550"/>
                <a:gd name="connsiteX3" fmla="*/ 822325 w 822325"/>
                <a:gd name="connsiteY3" fmla="*/ 300974 h 336550"/>
                <a:gd name="connsiteX4" fmla="*/ 780167 w 822325"/>
                <a:gd name="connsiteY4" fmla="*/ 336550 h 336550"/>
                <a:gd name="connsiteX5" fmla="*/ 487919 w 822325"/>
                <a:gd name="connsiteY5" fmla="*/ 336550 h 336550"/>
                <a:gd name="connsiteX6" fmla="*/ 552228 w 822325"/>
                <a:gd name="connsiteY6" fmla="*/ 169342 h 336550"/>
                <a:gd name="connsiteX7" fmla="*/ 485775 w 822325"/>
                <a:gd name="connsiteY7" fmla="*/ 0 h 336550"/>
                <a:gd name="connsiteX8" fmla="*/ 41444 w 822325"/>
                <a:gd name="connsiteY8" fmla="*/ 0 h 336550"/>
                <a:gd name="connsiteX9" fmla="*/ 336550 w 822325"/>
                <a:gd name="connsiteY9" fmla="*/ 0 h 336550"/>
                <a:gd name="connsiteX10" fmla="*/ 269383 w 822325"/>
                <a:gd name="connsiteY10" fmla="*/ 169342 h 336550"/>
                <a:gd name="connsiteX11" fmla="*/ 334407 w 822325"/>
                <a:gd name="connsiteY11" fmla="*/ 336550 h 336550"/>
                <a:gd name="connsiteX12" fmla="*/ 40729 w 822325"/>
                <a:gd name="connsiteY12" fmla="*/ 336550 h 336550"/>
                <a:gd name="connsiteX13" fmla="*/ 0 w 822325"/>
                <a:gd name="connsiteY13" fmla="*/ 301686 h 336550"/>
                <a:gd name="connsiteX14" fmla="*/ 0 w 822325"/>
                <a:gd name="connsiteY14" fmla="*/ 39134 h 336550"/>
                <a:gd name="connsiteX15" fmla="*/ 41444 w 822325"/>
                <a:gd name="connsiteY15"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2325" h="336550">
                  <a:moveTo>
                    <a:pt x="485775" y="0"/>
                  </a:moveTo>
                  <a:cubicBezTo>
                    <a:pt x="485775" y="0"/>
                    <a:pt x="485775" y="0"/>
                    <a:pt x="779453" y="0"/>
                  </a:cubicBezTo>
                  <a:cubicBezTo>
                    <a:pt x="782311" y="21346"/>
                    <a:pt x="800174" y="38422"/>
                    <a:pt x="822325" y="39134"/>
                  </a:cubicBezTo>
                  <a:cubicBezTo>
                    <a:pt x="822325" y="39134"/>
                    <a:pt x="822325" y="39134"/>
                    <a:pt x="822325" y="300974"/>
                  </a:cubicBezTo>
                  <a:cubicBezTo>
                    <a:pt x="801603" y="301686"/>
                    <a:pt x="784454" y="316628"/>
                    <a:pt x="780167" y="336550"/>
                  </a:cubicBezTo>
                  <a:cubicBezTo>
                    <a:pt x="780167" y="336550"/>
                    <a:pt x="780167" y="336550"/>
                    <a:pt x="487919" y="336550"/>
                  </a:cubicBezTo>
                  <a:cubicBezTo>
                    <a:pt x="522932" y="298839"/>
                    <a:pt x="552228" y="237649"/>
                    <a:pt x="552228" y="169342"/>
                  </a:cubicBezTo>
                  <a:cubicBezTo>
                    <a:pt x="552228" y="99613"/>
                    <a:pt x="522217" y="37711"/>
                    <a:pt x="485775" y="0"/>
                  </a:cubicBezTo>
                  <a:close/>
                  <a:moveTo>
                    <a:pt x="41444" y="0"/>
                  </a:moveTo>
                  <a:lnTo>
                    <a:pt x="336550" y="0"/>
                  </a:lnTo>
                  <a:cubicBezTo>
                    <a:pt x="300109" y="37711"/>
                    <a:pt x="269383" y="99613"/>
                    <a:pt x="269383" y="169342"/>
                  </a:cubicBezTo>
                  <a:cubicBezTo>
                    <a:pt x="269383" y="237649"/>
                    <a:pt x="299394" y="298839"/>
                    <a:pt x="334407" y="336550"/>
                  </a:cubicBezTo>
                  <a:cubicBezTo>
                    <a:pt x="334407" y="336550"/>
                    <a:pt x="334407" y="336550"/>
                    <a:pt x="40729" y="336550"/>
                  </a:cubicBezTo>
                  <a:cubicBezTo>
                    <a:pt x="37157" y="317339"/>
                    <a:pt x="20007" y="303109"/>
                    <a:pt x="0" y="301686"/>
                  </a:cubicBezTo>
                  <a:cubicBezTo>
                    <a:pt x="0" y="301686"/>
                    <a:pt x="0" y="301686"/>
                    <a:pt x="0" y="39134"/>
                  </a:cubicBezTo>
                  <a:cubicBezTo>
                    <a:pt x="21437" y="37711"/>
                    <a:pt x="38586" y="20634"/>
                    <a:pt x="4144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49" name="Freeform 11">
              <a:extLst>
                <a:ext uri="{FF2B5EF4-FFF2-40B4-BE49-F238E27FC236}">
                  <a16:creationId xmlns:a16="http://schemas.microsoft.com/office/drawing/2014/main" id="{CD5AB220-A975-4988-D0EE-6D308818ABF0}"/>
                </a:ext>
              </a:extLst>
            </p:cNvPr>
            <p:cNvSpPr>
              <a:spLocks/>
            </p:cNvSpPr>
            <p:nvPr/>
          </p:nvSpPr>
          <p:spPr bwMode="auto">
            <a:xfrm>
              <a:off x="-3405932" y="3357810"/>
              <a:ext cx="471124" cy="462558"/>
            </a:xfrm>
            <a:custGeom>
              <a:avLst/>
              <a:gdLst>
                <a:gd name="connsiteX0" fmla="*/ 409739 w 1146175"/>
                <a:gd name="connsiteY0" fmla="*/ 615791 h 1125538"/>
                <a:gd name="connsiteX1" fmla="*/ 326138 w 1146175"/>
                <a:gd name="connsiteY1" fmla="*/ 635801 h 1125538"/>
                <a:gd name="connsiteX2" fmla="*/ 31750 w 1146175"/>
                <a:gd name="connsiteY2" fmla="*/ 803020 h 1125538"/>
                <a:gd name="connsiteX3" fmla="*/ 31750 w 1146175"/>
                <a:gd name="connsiteY3" fmla="*/ 1087437 h 1125538"/>
                <a:gd name="connsiteX4" fmla="*/ 368296 w 1146175"/>
                <a:gd name="connsiteY4" fmla="*/ 957377 h 1125538"/>
                <a:gd name="connsiteX5" fmla="*/ 419028 w 1146175"/>
                <a:gd name="connsiteY5" fmla="*/ 949516 h 1125538"/>
                <a:gd name="connsiteX6" fmla="*/ 568366 w 1146175"/>
                <a:gd name="connsiteY6" fmla="*/ 960236 h 1125538"/>
                <a:gd name="connsiteX7" fmla="*/ 797017 w 1146175"/>
                <a:gd name="connsiteY7" fmla="*/ 933795 h 1125538"/>
                <a:gd name="connsiteX8" fmla="*/ 1047818 w 1146175"/>
                <a:gd name="connsiteY8" fmla="*/ 767290 h 1125538"/>
                <a:gd name="connsiteX9" fmla="*/ 1079972 w 1146175"/>
                <a:gd name="connsiteY9" fmla="*/ 730130 h 1125538"/>
                <a:gd name="connsiteX10" fmla="*/ 1074971 w 1146175"/>
                <a:gd name="connsiteY10" fmla="*/ 655810 h 1125538"/>
                <a:gd name="connsiteX11" fmla="*/ 1036386 w 1146175"/>
                <a:gd name="connsiteY11" fmla="*/ 642232 h 1125538"/>
                <a:gd name="connsiteX12" fmla="*/ 999230 w 1146175"/>
                <a:gd name="connsiteY12" fmla="*/ 660097 h 1125538"/>
                <a:gd name="connsiteX13" fmla="*/ 951356 w 1146175"/>
                <a:gd name="connsiteY13" fmla="*/ 713694 h 1125538"/>
                <a:gd name="connsiteX14" fmla="*/ 805591 w 1146175"/>
                <a:gd name="connsiteY14" fmla="*/ 805164 h 1125538"/>
                <a:gd name="connsiteX15" fmla="*/ 608380 w 1146175"/>
                <a:gd name="connsiteY15" fmla="*/ 794445 h 1125538"/>
                <a:gd name="connsiteX16" fmla="*/ 553360 w 1146175"/>
                <a:gd name="connsiteY16" fmla="*/ 772292 h 1125538"/>
                <a:gd name="connsiteX17" fmla="*/ 544071 w 1146175"/>
                <a:gd name="connsiteY17" fmla="*/ 755856 h 1125538"/>
                <a:gd name="connsiteX18" fmla="*/ 557648 w 1146175"/>
                <a:gd name="connsiteY18" fmla="*/ 742278 h 1125538"/>
                <a:gd name="connsiteX19" fmla="*/ 715560 w 1146175"/>
                <a:gd name="connsiteY19" fmla="*/ 726557 h 1125538"/>
                <a:gd name="connsiteX20" fmla="*/ 759146 w 1146175"/>
                <a:gd name="connsiteY20" fmla="*/ 679392 h 1125538"/>
                <a:gd name="connsiteX21" fmla="*/ 713416 w 1146175"/>
                <a:gd name="connsiteY21" fmla="*/ 631513 h 1125538"/>
                <a:gd name="connsiteX22" fmla="*/ 409739 w 1146175"/>
                <a:gd name="connsiteY22" fmla="*/ 615791 h 1125538"/>
                <a:gd name="connsiteX23" fmla="*/ 390213 w 1146175"/>
                <a:gd name="connsiteY23" fmla="*/ 584200 h 1125538"/>
                <a:gd name="connsiteX24" fmla="*/ 393786 w 1146175"/>
                <a:gd name="connsiteY24" fmla="*/ 584200 h 1125538"/>
                <a:gd name="connsiteX25" fmla="*/ 396645 w 1146175"/>
                <a:gd name="connsiteY25" fmla="*/ 584200 h 1125538"/>
                <a:gd name="connsiteX26" fmla="*/ 399504 w 1146175"/>
                <a:gd name="connsiteY26" fmla="*/ 584200 h 1125538"/>
                <a:gd name="connsiteX27" fmla="*/ 403077 w 1146175"/>
                <a:gd name="connsiteY27" fmla="*/ 584200 h 1125538"/>
                <a:gd name="connsiteX28" fmla="*/ 410939 w 1146175"/>
                <a:gd name="connsiteY28" fmla="*/ 584200 h 1125538"/>
                <a:gd name="connsiteX29" fmla="*/ 715390 w 1146175"/>
                <a:gd name="connsiteY29" fmla="*/ 599912 h 1125538"/>
                <a:gd name="connsiteX30" fmla="*/ 780426 w 1146175"/>
                <a:gd name="connsiteY30" fmla="*/ 640619 h 1125538"/>
                <a:gd name="connsiteX31" fmla="*/ 782570 w 1146175"/>
                <a:gd name="connsiteY31" fmla="*/ 644904 h 1125538"/>
                <a:gd name="connsiteX32" fmla="*/ 789002 w 1146175"/>
                <a:gd name="connsiteY32" fmla="*/ 663473 h 1125538"/>
                <a:gd name="connsiteX33" fmla="*/ 790431 w 1146175"/>
                <a:gd name="connsiteY33" fmla="*/ 679184 h 1125538"/>
                <a:gd name="connsiteX34" fmla="*/ 789716 w 1146175"/>
                <a:gd name="connsiteY34" fmla="*/ 684898 h 1125538"/>
                <a:gd name="connsiteX35" fmla="*/ 789716 w 1146175"/>
                <a:gd name="connsiteY35" fmla="*/ 685612 h 1125538"/>
                <a:gd name="connsiteX36" fmla="*/ 789002 w 1146175"/>
                <a:gd name="connsiteY36" fmla="*/ 691325 h 1125538"/>
                <a:gd name="connsiteX37" fmla="*/ 763988 w 1146175"/>
                <a:gd name="connsiteY37" fmla="*/ 738460 h 1125538"/>
                <a:gd name="connsiteX38" fmla="*/ 763273 w 1146175"/>
                <a:gd name="connsiteY38" fmla="*/ 738460 h 1125538"/>
                <a:gd name="connsiteX39" fmla="*/ 758985 w 1146175"/>
                <a:gd name="connsiteY39" fmla="*/ 742031 h 1125538"/>
                <a:gd name="connsiteX40" fmla="*/ 754697 w 1146175"/>
                <a:gd name="connsiteY40" fmla="*/ 744888 h 1125538"/>
                <a:gd name="connsiteX41" fmla="*/ 753983 w 1146175"/>
                <a:gd name="connsiteY41" fmla="*/ 745602 h 1125538"/>
                <a:gd name="connsiteX42" fmla="*/ 749695 w 1146175"/>
                <a:gd name="connsiteY42" fmla="*/ 748458 h 1125538"/>
                <a:gd name="connsiteX43" fmla="*/ 748265 w 1146175"/>
                <a:gd name="connsiteY43" fmla="*/ 749173 h 1125538"/>
                <a:gd name="connsiteX44" fmla="*/ 743263 w 1146175"/>
                <a:gd name="connsiteY44" fmla="*/ 751315 h 1125538"/>
                <a:gd name="connsiteX45" fmla="*/ 742548 w 1146175"/>
                <a:gd name="connsiteY45" fmla="*/ 752029 h 1125538"/>
                <a:gd name="connsiteX46" fmla="*/ 738260 w 1146175"/>
                <a:gd name="connsiteY46" fmla="*/ 753458 h 1125538"/>
                <a:gd name="connsiteX47" fmla="*/ 718964 w 1146175"/>
                <a:gd name="connsiteY47" fmla="*/ 757743 h 1125538"/>
                <a:gd name="connsiteX48" fmla="*/ 624626 w 1146175"/>
                <a:gd name="connsiteY48" fmla="*/ 767027 h 1125538"/>
                <a:gd name="connsiteX49" fmla="*/ 743263 w 1146175"/>
                <a:gd name="connsiteY49" fmla="*/ 784167 h 1125538"/>
                <a:gd name="connsiteX50" fmla="*/ 775423 w 1146175"/>
                <a:gd name="connsiteY50" fmla="*/ 779882 h 1125538"/>
                <a:gd name="connsiteX51" fmla="*/ 785428 w 1146175"/>
                <a:gd name="connsiteY51" fmla="*/ 777739 h 1125538"/>
                <a:gd name="connsiteX52" fmla="*/ 786858 w 1146175"/>
                <a:gd name="connsiteY52" fmla="*/ 777025 h 1125538"/>
                <a:gd name="connsiteX53" fmla="*/ 796863 w 1146175"/>
                <a:gd name="connsiteY53" fmla="*/ 774883 h 1125538"/>
                <a:gd name="connsiteX54" fmla="*/ 826880 w 1146175"/>
                <a:gd name="connsiteY54" fmla="*/ 764170 h 1125538"/>
                <a:gd name="connsiteX55" fmla="*/ 909782 w 1146175"/>
                <a:gd name="connsiteY55" fmla="*/ 711322 h 1125538"/>
                <a:gd name="connsiteX56" fmla="*/ 928363 w 1146175"/>
                <a:gd name="connsiteY56" fmla="*/ 692753 h 1125538"/>
                <a:gd name="connsiteX57" fmla="*/ 975532 w 1146175"/>
                <a:gd name="connsiteY57" fmla="*/ 639191 h 1125538"/>
                <a:gd name="connsiteX58" fmla="*/ 978391 w 1146175"/>
                <a:gd name="connsiteY58" fmla="*/ 635620 h 1125538"/>
                <a:gd name="connsiteX59" fmla="*/ 979105 w 1146175"/>
                <a:gd name="connsiteY59" fmla="*/ 635620 h 1125538"/>
                <a:gd name="connsiteX60" fmla="*/ 1034135 w 1146175"/>
                <a:gd name="connsiteY60" fmla="*/ 610624 h 1125538"/>
                <a:gd name="connsiteX61" fmla="*/ 1034850 w 1146175"/>
                <a:gd name="connsiteY61" fmla="*/ 610624 h 1125538"/>
                <a:gd name="connsiteX62" fmla="*/ 1039138 w 1146175"/>
                <a:gd name="connsiteY62" fmla="*/ 610624 h 1125538"/>
                <a:gd name="connsiteX63" fmla="*/ 1040567 w 1146175"/>
                <a:gd name="connsiteY63" fmla="*/ 610624 h 1125538"/>
                <a:gd name="connsiteX64" fmla="*/ 1079875 w 1146175"/>
                <a:gd name="connsiteY64" fmla="*/ 621337 h 1125538"/>
                <a:gd name="connsiteX65" fmla="*/ 1083448 w 1146175"/>
                <a:gd name="connsiteY65" fmla="*/ 623479 h 1125538"/>
                <a:gd name="connsiteX66" fmla="*/ 1086307 w 1146175"/>
                <a:gd name="connsiteY66" fmla="*/ 624908 h 1125538"/>
                <a:gd name="connsiteX67" fmla="*/ 1087021 w 1146175"/>
                <a:gd name="connsiteY67" fmla="*/ 625622 h 1125538"/>
                <a:gd name="connsiteX68" fmla="*/ 1089880 w 1146175"/>
                <a:gd name="connsiteY68" fmla="*/ 627764 h 1125538"/>
                <a:gd name="connsiteX69" fmla="*/ 1090595 w 1146175"/>
                <a:gd name="connsiteY69" fmla="*/ 628478 h 1125538"/>
                <a:gd name="connsiteX70" fmla="*/ 1092739 w 1146175"/>
                <a:gd name="connsiteY70" fmla="*/ 629907 h 1125538"/>
                <a:gd name="connsiteX71" fmla="*/ 1095597 w 1146175"/>
                <a:gd name="connsiteY71" fmla="*/ 632049 h 1125538"/>
                <a:gd name="connsiteX72" fmla="*/ 1095597 w 1146175"/>
                <a:gd name="connsiteY72" fmla="*/ 632763 h 1125538"/>
                <a:gd name="connsiteX73" fmla="*/ 1103459 w 1146175"/>
                <a:gd name="connsiteY73" fmla="*/ 749887 h 1125538"/>
                <a:gd name="connsiteX74" fmla="*/ 1072013 w 1146175"/>
                <a:gd name="connsiteY74" fmla="*/ 787738 h 1125538"/>
                <a:gd name="connsiteX75" fmla="*/ 966241 w 1146175"/>
                <a:gd name="connsiteY75" fmla="*/ 884150 h 1125538"/>
                <a:gd name="connsiteX76" fmla="*/ 956950 w 1146175"/>
                <a:gd name="connsiteY76" fmla="*/ 890577 h 1125538"/>
                <a:gd name="connsiteX77" fmla="*/ 948374 w 1146175"/>
                <a:gd name="connsiteY77" fmla="*/ 896291 h 1125538"/>
                <a:gd name="connsiteX78" fmla="*/ 806154 w 1146175"/>
                <a:gd name="connsiteY78" fmla="*/ 963422 h 1125538"/>
                <a:gd name="connsiteX79" fmla="*/ 792575 w 1146175"/>
                <a:gd name="connsiteY79" fmla="*/ 967707 h 1125538"/>
                <a:gd name="connsiteX80" fmla="*/ 788287 w 1146175"/>
                <a:gd name="connsiteY80" fmla="*/ 968422 h 1125538"/>
                <a:gd name="connsiteX81" fmla="*/ 779711 w 1146175"/>
                <a:gd name="connsiteY81" fmla="*/ 971278 h 1125538"/>
                <a:gd name="connsiteX82" fmla="*/ 773994 w 1146175"/>
                <a:gd name="connsiteY82" fmla="*/ 972707 h 1125538"/>
                <a:gd name="connsiteX83" fmla="*/ 766132 w 1146175"/>
                <a:gd name="connsiteY83" fmla="*/ 974135 h 1125538"/>
                <a:gd name="connsiteX84" fmla="*/ 759700 w 1146175"/>
                <a:gd name="connsiteY84" fmla="*/ 976277 h 1125538"/>
                <a:gd name="connsiteX85" fmla="*/ 753983 w 1146175"/>
                <a:gd name="connsiteY85" fmla="*/ 976992 h 1125538"/>
                <a:gd name="connsiteX86" fmla="*/ 724681 w 1146175"/>
                <a:gd name="connsiteY86" fmla="*/ 983419 h 1125538"/>
                <a:gd name="connsiteX87" fmla="*/ 721822 w 1146175"/>
                <a:gd name="connsiteY87" fmla="*/ 983419 h 1125538"/>
                <a:gd name="connsiteX88" fmla="*/ 711102 w 1146175"/>
                <a:gd name="connsiteY88" fmla="*/ 985562 h 1125538"/>
                <a:gd name="connsiteX89" fmla="*/ 709673 w 1146175"/>
                <a:gd name="connsiteY89" fmla="*/ 985562 h 1125538"/>
                <a:gd name="connsiteX90" fmla="*/ 650355 w 1146175"/>
                <a:gd name="connsiteY90" fmla="*/ 991989 h 1125538"/>
                <a:gd name="connsiteX91" fmla="*/ 648211 w 1146175"/>
                <a:gd name="connsiteY91" fmla="*/ 991989 h 1125538"/>
                <a:gd name="connsiteX92" fmla="*/ 637491 w 1146175"/>
                <a:gd name="connsiteY92" fmla="*/ 992703 h 1125538"/>
                <a:gd name="connsiteX93" fmla="*/ 635347 w 1146175"/>
                <a:gd name="connsiteY93" fmla="*/ 992703 h 1125538"/>
                <a:gd name="connsiteX94" fmla="*/ 621053 w 1146175"/>
                <a:gd name="connsiteY94" fmla="*/ 992703 h 1125538"/>
                <a:gd name="connsiteX95" fmla="*/ 620338 w 1146175"/>
                <a:gd name="connsiteY95" fmla="*/ 992703 h 1125538"/>
                <a:gd name="connsiteX96" fmla="*/ 612477 w 1146175"/>
                <a:gd name="connsiteY96" fmla="*/ 992703 h 1125538"/>
                <a:gd name="connsiteX97" fmla="*/ 606045 w 1146175"/>
                <a:gd name="connsiteY97" fmla="*/ 992703 h 1125538"/>
                <a:gd name="connsiteX98" fmla="*/ 598898 w 1146175"/>
                <a:gd name="connsiteY98" fmla="*/ 992703 h 1125538"/>
                <a:gd name="connsiteX99" fmla="*/ 592466 w 1146175"/>
                <a:gd name="connsiteY99" fmla="*/ 992703 h 1125538"/>
                <a:gd name="connsiteX100" fmla="*/ 584605 w 1146175"/>
                <a:gd name="connsiteY100" fmla="*/ 991989 h 1125538"/>
                <a:gd name="connsiteX101" fmla="*/ 578887 w 1146175"/>
                <a:gd name="connsiteY101" fmla="*/ 991989 h 1125538"/>
                <a:gd name="connsiteX102" fmla="*/ 566738 w 1146175"/>
                <a:gd name="connsiteY102" fmla="*/ 991275 h 1125538"/>
                <a:gd name="connsiteX103" fmla="*/ 566023 w 1146175"/>
                <a:gd name="connsiteY103" fmla="*/ 991275 h 1125538"/>
                <a:gd name="connsiteX104" fmla="*/ 485265 w 1146175"/>
                <a:gd name="connsiteY104" fmla="*/ 985562 h 1125538"/>
                <a:gd name="connsiteX105" fmla="*/ 416656 w 1146175"/>
                <a:gd name="connsiteY105" fmla="*/ 980562 h 1125538"/>
                <a:gd name="connsiteX106" fmla="*/ 410939 w 1146175"/>
                <a:gd name="connsiteY106" fmla="*/ 980562 h 1125538"/>
                <a:gd name="connsiteX107" fmla="*/ 407365 w 1146175"/>
                <a:gd name="connsiteY107" fmla="*/ 980562 h 1125538"/>
                <a:gd name="connsiteX108" fmla="*/ 393072 w 1146175"/>
                <a:gd name="connsiteY108" fmla="*/ 981991 h 1125538"/>
                <a:gd name="connsiteX109" fmla="*/ 388784 w 1146175"/>
                <a:gd name="connsiteY109" fmla="*/ 982705 h 1125538"/>
                <a:gd name="connsiteX110" fmla="*/ 388784 w 1146175"/>
                <a:gd name="connsiteY110" fmla="*/ 983419 h 1125538"/>
                <a:gd name="connsiteX111" fmla="*/ 384496 w 1146175"/>
                <a:gd name="connsiteY111" fmla="*/ 984133 h 1125538"/>
                <a:gd name="connsiteX112" fmla="*/ 383781 w 1146175"/>
                <a:gd name="connsiteY112" fmla="*/ 984847 h 1125538"/>
                <a:gd name="connsiteX113" fmla="*/ 379493 w 1146175"/>
                <a:gd name="connsiteY113" fmla="*/ 986276 h 1125538"/>
                <a:gd name="connsiteX114" fmla="*/ 21441 w 1146175"/>
                <a:gd name="connsiteY114" fmla="*/ 1124824 h 1125538"/>
                <a:gd name="connsiteX115" fmla="*/ 15723 w 1146175"/>
                <a:gd name="connsiteY115" fmla="*/ 1125538 h 1125538"/>
                <a:gd name="connsiteX116" fmla="*/ 7147 w 1146175"/>
                <a:gd name="connsiteY116" fmla="*/ 1122681 h 1125538"/>
                <a:gd name="connsiteX117" fmla="*/ 0 w 1146175"/>
                <a:gd name="connsiteY117" fmla="*/ 1109826 h 1125538"/>
                <a:gd name="connsiteX118" fmla="*/ 0 w 1146175"/>
                <a:gd name="connsiteY118" fmla="*/ 793451 h 1125538"/>
                <a:gd name="connsiteX119" fmla="*/ 7862 w 1146175"/>
                <a:gd name="connsiteY119" fmla="*/ 779882 h 1125538"/>
                <a:gd name="connsiteX120" fmla="*/ 310169 w 1146175"/>
                <a:gd name="connsiteY120" fmla="*/ 608482 h 1125538"/>
                <a:gd name="connsiteX121" fmla="*/ 315887 w 1146175"/>
                <a:gd name="connsiteY121" fmla="*/ 605625 h 1125538"/>
                <a:gd name="connsiteX122" fmla="*/ 318031 w 1146175"/>
                <a:gd name="connsiteY122" fmla="*/ 604197 h 1125538"/>
                <a:gd name="connsiteX123" fmla="*/ 320889 w 1146175"/>
                <a:gd name="connsiteY123" fmla="*/ 602768 h 1125538"/>
                <a:gd name="connsiteX124" fmla="*/ 324463 w 1146175"/>
                <a:gd name="connsiteY124" fmla="*/ 601340 h 1125538"/>
                <a:gd name="connsiteX125" fmla="*/ 326607 w 1146175"/>
                <a:gd name="connsiteY125" fmla="*/ 599912 h 1125538"/>
                <a:gd name="connsiteX126" fmla="*/ 330180 w 1146175"/>
                <a:gd name="connsiteY126" fmla="*/ 598483 h 1125538"/>
                <a:gd name="connsiteX127" fmla="*/ 332324 w 1146175"/>
                <a:gd name="connsiteY127" fmla="*/ 597769 h 1125538"/>
                <a:gd name="connsiteX128" fmla="*/ 336612 w 1146175"/>
                <a:gd name="connsiteY128" fmla="*/ 596341 h 1125538"/>
                <a:gd name="connsiteX129" fmla="*/ 338042 w 1146175"/>
                <a:gd name="connsiteY129" fmla="*/ 595627 h 1125538"/>
                <a:gd name="connsiteX130" fmla="*/ 342330 w 1146175"/>
                <a:gd name="connsiteY130" fmla="*/ 594198 h 1125538"/>
                <a:gd name="connsiteX131" fmla="*/ 343044 w 1146175"/>
                <a:gd name="connsiteY131" fmla="*/ 593484 h 1125538"/>
                <a:gd name="connsiteX132" fmla="*/ 348047 w 1146175"/>
                <a:gd name="connsiteY132" fmla="*/ 592056 h 1125538"/>
                <a:gd name="connsiteX133" fmla="*/ 348762 w 1146175"/>
                <a:gd name="connsiteY133" fmla="*/ 592056 h 1125538"/>
                <a:gd name="connsiteX134" fmla="*/ 382352 w 1146175"/>
                <a:gd name="connsiteY134" fmla="*/ 584914 h 1125538"/>
                <a:gd name="connsiteX135" fmla="*/ 383781 w 1146175"/>
                <a:gd name="connsiteY135" fmla="*/ 584914 h 1125538"/>
                <a:gd name="connsiteX136" fmla="*/ 387354 w 1146175"/>
                <a:gd name="connsiteY136" fmla="*/ 584914 h 1125538"/>
                <a:gd name="connsiteX137" fmla="*/ 390213 w 1146175"/>
                <a:gd name="connsiteY137" fmla="*/ 584200 h 1125538"/>
                <a:gd name="connsiteX138" fmla="*/ 654433 w 1146175"/>
                <a:gd name="connsiteY138" fmla="*/ 103187 h 1125538"/>
                <a:gd name="connsiteX139" fmla="*/ 686457 w 1146175"/>
                <a:gd name="connsiteY139" fmla="*/ 103187 h 1125538"/>
                <a:gd name="connsiteX140" fmla="*/ 686457 w 1146175"/>
                <a:gd name="connsiteY140" fmla="*/ 126776 h 1125538"/>
                <a:gd name="connsiteX141" fmla="*/ 724174 w 1146175"/>
                <a:gd name="connsiteY141" fmla="*/ 139643 h 1125538"/>
                <a:gd name="connsiteX142" fmla="*/ 714211 w 1146175"/>
                <a:gd name="connsiteY142" fmla="*/ 169665 h 1125538"/>
                <a:gd name="connsiteX143" fmla="*/ 672936 w 1146175"/>
                <a:gd name="connsiteY143" fmla="*/ 156083 h 1125538"/>
                <a:gd name="connsiteX144" fmla="*/ 653722 w 1146175"/>
                <a:gd name="connsiteY144" fmla="*/ 162517 h 1125538"/>
                <a:gd name="connsiteX145" fmla="*/ 646605 w 1146175"/>
                <a:gd name="connsiteY145" fmla="*/ 179672 h 1125538"/>
                <a:gd name="connsiteX146" fmla="*/ 685034 w 1146175"/>
                <a:gd name="connsiteY146" fmla="*/ 215413 h 1125538"/>
                <a:gd name="connsiteX147" fmla="*/ 715634 w 1146175"/>
                <a:gd name="connsiteY147" fmla="*/ 233998 h 1125538"/>
                <a:gd name="connsiteX148" fmla="*/ 729155 w 1146175"/>
                <a:gd name="connsiteY148" fmla="*/ 253298 h 1125538"/>
                <a:gd name="connsiteX149" fmla="*/ 733425 w 1146175"/>
                <a:gd name="connsiteY149" fmla="*/ 278317 h 1125538"/>
                <a:gd name="connsiteX150" fmla="*/ 721327 w 1146175"/>
                <a:gd name="connsiteY150" fmla="*/ 311198 h 1125538"/>
                <a:gd name="connsiteX151" fmla="*/ 686457 w 1146175"/>
                <a:gd name="connsiteY151" fmla="*/ 331213 h 1125538"/>
                <a:gd name="connsiteX152" fmla="*/ 686457 w 1146175"/>
                <a:gd name="connsiteY152" fmla="*/ 361950 h 1125538"/>
                <a:gd name="connsiteX153" fmla="*/ 654433 w 1146175"/>
                <a:gd name="connsiteY153" fmla="*/ 361950 h 1125538"/>
                <a:gd name="connsiteX154" fmla="*/ 654433 w 1146175"/>
                <a:gd name="connsiteY154" fmla="*/ 332643 h 1125538"/>
                <a:gd name="connsiteX155" fmla="*/ 609600 w 1146175"/>
                <a:gd name="connsiteY155" fmla="*/ 319061 h 1125538"/>
                <a:gd name="connsiteX156" fmla="*/ 623833 w 1146175"/>
                <a:gd name="connsiteY156" fmla="*/ 287609 h 1125538"/>
                <a:gd name="connsiteX157" fmla="*/ 665820 w 1146175"/>
                <a:gd name="connsiteY157" fmla="*/ 301906 h 1125538"/>
                <a:gd name="connsiteX158" fmla="*/ 697132 w 1146175"/>
                <a:gd name="connsiteY158" fmla="*/ 280461 h 1125538"/>
                <a:gd name="connsiteX159" fmla="*/ 689304 w 1146175"/>
                <a:gd name="connsiteY159" fmla="*/ 259732 h 1125538"/>
                <a:gd name="connsiteX160" fmla="*/ 658703 w 1146175"/>
                <a:gd name="connsiteY160" fmla="*/ 239002 h 1125538"/>
                <a:gd name="connsiteX161" fmla="*/ 627391 w 1146175"/>
                <a:gd name="connsiteY161" fmla="*/ 220417 h 1125538"/>
                <a:gd name="connsiteX162" fmla="*/ 613870 w 1146175"/>
                <a:gd name="connsiteY162" fmla="*/ 202546 h 1125538"/>
                <a:gd name="connsiteX163" fmla="*/ 610312 w 1146175"/>
                <a:gd name="connsiteY163" fmla="*/ 179672 h 1125538"/>
                <a:gd name="connsiteX164" fmla="*/ 623121 w 1146175"/>
                <a:gd name="connsiteY164" fmla="*/ 147506 h 1125538"/>
                <a:gd name="connsiteX165" fmla="*/ 654433 w 1146175"/>
                <a:gd name="connsiteY165" fmla="*/ 128920 h 1125538"/>
                <a:gd name="connsiteX166" fmla="*/ 654433 w 1146175"/>
                <a:gd name="connsiteY166" fmla="*/ 103187 h 1125538"/>
                <a:gd name="connsiteX167" fmla="*/ 228600 w 1146175"/>
                <a:gd name="connsiteY167" fmla="*/ 31750 h 1125538"/>
                <a:gd name="connsiteX168" fmla="*/ 228600 w 1146175"/>
                <a:gd name="connsiteY168" fmla="*/ 431800 h 1125538"/>
                <a:gd name="connsiteX169" fmla="*/ 1114425 w 1146175"/>
                <a:gd name="connsiteY169" fmla="*/ 431800 h 1125538"/>
                <a:gd name="connsiteX170" fmla="*/ 1114425 w 1146175"/>
                <a:gd name="connsiteY170" fmla="*/ 31750 h 1125538"/>
                <a:gd name="connsiteX171" fmla="*/ 209003 w 1146175"/>
                <a:gd name="connsiteY171" fmla="*/ 0 h 1125538"/>
                <a:gd name="connsiteX172" fmla="*/ 1134023 w 1146175"/>
                <a:gd name="connsiteY172" fmla="*/ 0 h 1125538"/>
                <a:gd name="connsiteX173" fmla="*/ 1146175 w 1146175"/>
                <a:gd name="connsiteY173" fmla="*/ 11428 h 1125538"/>
                <a:gd name="connsiteX174" fmla="*/ 1146175 w 1146175"/>
                <a:gd name="connsiteY174" fmla="*/ 451408 h 1125538"/>
                <a:gd name="connsiteX175" fmla="*/ 1134023 w 1146175"/>
                <a:gd name="connsiteY175" fmla="*/ 463550 h 1125538"/>
                <a:gd name="connsiteX176" fmla="*/ 209003 w 1146175"/>
                <a:gd name="connsiteY176" fmla="*/ 463550 h 1125538"/>
                <a:gd name="connsiteX177" fmla="*/ 196850 w 1146175"/>
                <a:gd name="connsiteY177" fmla="*/ 451408 h 1125538"/>
                <a:gd name="connsiteX178" fmla="*/ 196850 w 1146175"/>
                <a:gd name="connsiteY178" fmla="*/ 11428 h 1125538"/>
                <a:gd name="connsiteX179" fmla="*/ 209003 w 1146175"/>
                <a:gd name="connsiteY179"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46175"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654433" y="103187"/>
                  </a:moveTo>
                  <a:cubicBezTo>
                    <a:pt x="686457" y="103187"/>
                    <a:pt x="686457" y="103187"/>
                    <a:pt x="686457" y="103187"/>
                  </a:cubicBezTo>
                  <a:cubicBezTo>
                    <a:pt x="686457" y="126776"/>
                    <a:pt x="686457" y="126776"/>
                    <a:pt x="686457" y="126776"/>
                  </a:cubicBezTo>
                  <a:cubicBezTo>
                    <a:pt x="702825" y="128920"/>
                    <a:pt x="716346" y="132495"/>
                    <a:pt x="724174" y="139643"/>
                  </a:cubicBezTo>
                  <a:cubicBezTo>
                    <a:pt x="714211" y="169665"/>
                    <a:pt x="714211" y="169665"/>
                    <a:pt x="714211" y="169665"/>
                  </a:cubicBezTo>
                  <a:cubicBezTo>
                    <a:pt x="700690" y="161087"/>
                    <a:pt x="687169" y="156083"/>
                    <a:pt x="672936" y="156083"/>
                  </a:cubicBezTo>
                  <a:cubicBezTo>
                    <a:pt x="665108" y="156083"/>
                    <a:pt x="658703" y="158228"/>
                    <a:pt x="653722" y="162517"/>
                  </a:cubicBezTo>
                  <a:cubicBezTo>
                    <a:pt x="648740" y="167520"/>
                    <a:pt x="646605" y="172524"/>
                    <a:pt x="646605" y="179672"/>
                  </a:cubicBezTo>
                  <a:cubicBezTo>
                    <a:pt x="646605" y="191109"/>
                    <a:pt x="659415" y="203261"/>
                    <a:pt x="685034" y="215413"/>
                  </a:cubicBezTo>
                  <a:cubicBezTo>
                    <a:pt x="698555" y="222561"/>
                    <a:pt x="709230" y="228280"/>
                    <a:pt x="715634" y="233998"/>
                  </a:cubicBezTo>
                  <a:cubicBezTo>
                    <a:pt x="722039" y="239717"/>
                    <a:pt x="725597" y="246150"/>
                    <a:pt x="729155" y="253298"/>
                  </a:cubicBezTo>
                  <a:cubicBezTo>
                    <a:pt x="732002" y="261161"/>
                    <a:pt x="733425" y="269024"/>
                    <a:pt x="733425" y="278317"/>
                  </a:cubicBezTo>
                  <a:cubicBezTo>
                    <a:pt x="733425" y="290469"/>
                    <a:pt x="729867" y="301906"/>
                    <a:pt x="721327" y="311198"/>
                  </a:cubicBezTo>
                  <a:cubicBezTo>
                    <a:pt x="712788" y="320491"/>
                    <a:pt x="700690" y="327639"/>
                    <a:pt x="686457" y="331213"/>
                  </a:cubicBezTo>
                  <a:cubicBezTo>
                    <a:pt x="686457" y="361950"/>
                    <a:pt x="686457" y="361950"/>
                    <a:pt x="686457" y="361950"/>
                  </a:cubicBezTo>
                  <a:cubicBezTo>
                    <a:pt x="654433" y="361950"/>
                    <a:pt x="654433" y="361950"/>
                    <a:pt x="654433" y="361950"/>
                  </a:cubicBezTo>
                  <a:cubicBezTo>
                    <a:pt x="654433" y="332643"/>
                    <a:pt x="654433" y="332643"/>
                    <a:pt x="654433" y="332643"/>
                  </a:cubicBezTo>
                  <a:cubicBezTo>
                    <a:pt x="638777" y="332643"/>
                    <a:pt x="623833" y="327639"/>
                    <a:pt x="609600" y="319061"/>
                  </a:cubicBezTo>
                  <a:cubicBezTo>
                    <a:pt x="623833" y="287609"/>
                    <a:pt x="623833" y="287609"/>
                    <a:pt x="623833" y="287609"/>
                  </a:cubicBezTo>
                  <a:cubicBezTo>
                    <a:pt x="638066" y="296902"/>
                    <a:pt x="652299" y="301906"/>
                    <a:pt x="665820" y="301906"/>
                  </a:cubicBezTo>
                  <a:cubicBezTo>
                    <a:pt x="687169" y="301906"/>
                    <a:pt x="697132" y="294758"/>
                    <a:pt x="697132" y="280461"/>
                  </a:cubicBezTo>
                  <a:cubicBezTo>
                    <a:pt x="697132" y="273313"/>
                    <a:pt x="694997" y="266165"/>
                    <a:pt x="689304" y="259732"/>
                  </a:cubicBezTo>
                  <a:cubicBezTo>
                    <a:pt x="683611" y="254013"/>
                    <a:pt x="673648" y="246865"/>
                    <a:pt x="658703" y="239002"/>
                  </a:cubicBezTo>
                  <a:cubicBezTo>
                    <a:pt x="643047" y="231854"/>
                    <a:pt x="633084" y="225420"/>
                    <a:pt x="627391" y="220417"/>
                  </a:cubicBezTo>
                  <a:cubicBezTo>
                    <a:pt x="621698" y="215413"/>
                    <a:pt x="618140" y="209695"/>
                    <a:pt x="613870" y="202546"/>
                  </a:cubicBezTo>
                  <a:cubicBezTo>
                    <a:pt x="611735" y="195398"/>
                    <a:pt x="610312" y="188250"/>
                    <a:pt x="610312" y="179672"/>
                  </a:cubicBezTo>
                  <a:cubicBezTo>
                    <a:pt x="610312" y="167520"/>
                    <a:pt x="613870" y="156083"/>
                    <a:pt x="623121" y="147506"/>
                  </a:cubicBezTo>
                  <a:cubicBezTo>
                    <a:pt x="630949" y="138213"/>
                    <a:pt x="640912" y="131780"/>
                    <a:pt x="654433" y="128920"/>
                  </a:cubicBezTo>
                  <a:cubicBezTo>
                    <a:pt x="654433" y="103187"/>
                    <a:pt x="654433" y="103187"/>
                    <a:pt x="654433" y="103187"/>
                  </a:cubicBezTo>
                  <a:close/>
                  <a:moveTo>
                    <a:pt x="228600" y="31750"/>
                  </a:moveTo>
                  <a:lnTo>
                    <a:pt x="228600" y="431800"/>
                  </a:lnTo>
                  <a:lnTo>
                    <a:pt x="1114425" y="431800"/>
                  </a:lnTo>
                  <a:lnTo>
                    <a:pt x="1114425" y="31750"/>
                  </a:lnTo>
                  <a:close/>
                  <a:moveTo>
                    <a:pt x="209003" y="0"/>
                  </a:moveTo>
                  <a:cubicBezTo>
                    <a:pt x="1134023" y="0"/>
                    <a:pt x="1134023" y="0"/>
                    <a:pt x="1134023" y="0"/>
                  </a:cubicBezTo>
                  <a:cubicBezTo>
                    <a:pt x="1141171" y="0"/>
                    <a:pt x="1146175" y="5000"/>
                    <a:pt x="1146175" y="11428"/>
                  </a:cubicBezTo>
                  <a:cubicBezTo>
                    <a:pt x="1146175" y="451408"/>
                    <a:pt x="1146175" y="451408"/>
                    <a:pt x="1146175" y="451408"/>
                  </a:cubicBezTo>
                  <a:cubicBezTo>
                    <a:pt x="1146175" y="457836"/>
                    <a:pt x="1141171" y="463550"/>
                    <a:pt x="1134023" y="463550"/>
                  </a:cubicBezTo>
                  <a:cubicBezTo>
                    <a:pt x="209003" y="463550"/>
                    <a:pt x="209003" y="463550"/>
                    <a:pt x="209003" y="463550"/>
                  </a:cubicBezTo>
                  <a:cubicBezTo>
                    <a:pt x="202569" y="463550"/>
                    <a:pt x="196850" y="457836"/>
                    <a:pt x="196850" y="451408"/>
                  </a:cubicBezTo>
                  <a:cubicBezTo>
                    <a:pt x="196850" y="11428"/>
                    <a:pt x="196850" y="11428"/>
                    <a:pt x="196850" y="11428"/>
                  </a:cubicBezTo>
                  <a:cubicBezTo>
                    <a:pt x="196850" y="5000"/>
                    <a:pt x="202569" y="0"/>
                    <a:pt x="20900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10" name="Group 109">
            <a:extLst>
              <a:ext uri="{FF2B5EF4-FFF2-40B4-BE49-F238E27FC236}">
                <a16:creationId xmlns:a16="http://schemas.microsoft.com/office/drawing/2014/main" id="{E2915B71-0F7D-0F5A-6F8A-38336C90F06F}"/>
              </a:ext>
            </a:extLst>
          </p:cNvPr>
          <p:cNvGrpSpPr/>
          <p:nvPr/>
        </p:nvGrpSpPr>
        <p:grpSpPr>
          <a:xfrm>
            <a:off x="7040174" y="4088319"/>
            <a:ext cx="418586" cy="462558"/>
            <a:chOff x="-3386764" y="5158386"/>
            <a:chExt cx="418586" cy="462558"/>
          </a:xfrm>
        </p:grpSpPr>
        <p:sp>
          <p:nvSpPr>
            <p:cNvPr id="53" name="Freeform 30">
              <a:extLst>
                <a:ext uri="{FF2B5EF4-FFF2-40B4-BE49-F238E27FC236}">
                  <a16:creationId xmlns:a16="http://schemas.microsoft.com/office/drawing/2014/main" id="{2A96F4D9-63AF-24E5-8B70-C9FC7F36DE3E}"/>
                </a:ext>
              </a:extLst>
            </p:cNvPr>
            <p:cNvSpPr>
              <a:spLocks/>
            </p:cNvSpPr>
            <p:nvPr/>
          </p:nvSpPr>
          <p:spPr bwMode="auto">
            <a:xfrm>
              <a:off x="-3386764" y="5158386"/>
              <a:ext cx="418586" cy="462558"/>
            </a:xfrm>
            <a:custGeom>
              <a:avLst/>
              <a:gdLst>
                <a:gd name="connsiteX0" fmla="*/ 859623 w 1102126"/>
                <a:gd name="connsiteY0" fmla="*/ 901700 h 1217613"/>
                <a:gd name="connsiteX1" fmla="*/ 793750 w 1102126"/>
                <a:gd name="connsiteY1" fmla="*/ 964565 h 1217613"/>
                <a:gd name="connsiteX2" fmla="*/ 866784 w 1102126"/>
                <a:gd name="connsiteY2" fmla="*/ 1041003 h 1217613"/>
                <a:gd name="connsiteX3" fmla="*/ 898288 w 1102126"/>
                <a:gd name="connsiteY3" fmla="*/ 1073865 h 1217613"/>
                <a:gd name="connsiteX4" fmla="*/ 1004974 w 1102126"/>
                <a:gd name="connsiteY4" fmla="*/ 1183878 h 1217613"/>
                <a:gd name="connsiteX5" fmla="*/ 1048651 w 1102126"/>
                <a:gd name="connsiteY5" fmla="*/ 1164590 h 1217613"/>
                <a:gd name="connsiteX6" fmla="*/ 1069415 w 1102126"/>
                <a:gd name="connsiteY6" fmla="*/ 1133872 h 1217613"/>
                <a:gd name="connsiteX7" fmla="*/ 1070131 w 1102126"/>
                <a:gd name="connsiteY7" fmla="*/ 1121013 h 1217613"/>
                <a:gd name="connsiteX8" fmla="*/ 898288 w 1102126"/>
                <a:gd name="connsiteY8" fmla="*/ 942420 h 1217613"/>
                <a:gd name="connsiteX9" fmla="*/ 866784 w 1102126"/>
                <a:gd name="connsiteY9" fmla="*/ 909558 h 1217613"/>
                <a:gd name="connsiteX10" fmla="*/ 859623 w 1102126"/>
                <a:gd name="connsiteY10" fmla="*/ 901700 h 1217613"/>
                <a:gd name="connsiteX11" fmla="*/ 493356 w 1102126"/>
                <a:gd name="connsiteY11" fmla="*/ 315913 h 1217613"/>
                <a:gd name="connsiteX12" fmla="*/ 479099 w 1102126"/>
                <a:gd name="connsiteY12" fmla="*/ 316628 h 1217613"/>
                <a:gd name="connsiteX13" fmla="*/ 351501 w 1102126"/>
                <a:gd name="connsiteY13" fmla="*/ 355947 h 1217613"/>
                <a:gd name="connsiteX14" fmla="*/ 259545 w 1102126"/>
                <a:gd name="connsiteY14" fmla="*/ 446023 h 1217613"/>
                <a:gd name="connsiteX15" fmla="*/ 254555 w 1102126"/>
                <a:gd name="connsiteY15" fmla="*/ 455316 h 1217613"/>
                <a:gd name="connsiteX16" fmla="*/ 239585 w 1102126"/>
                <a:gd name="connsiteY16" fmla="*/ 485342 h 1217613"/>
                <a:gd name="connsiteX17" fmla="*/ 228180 w 1102126"/>
                <a:gd name="connsiteY17" fmla="*/ 518941 h 1217613"/>
                <a:gd name="connsiteX18" fmla="*/ 220339 w 1102126"/>
                <a:gd name="connsiteY18" fmla="*/ 553256 h 1217613"/>
                <a:gd name="connsiteX19" fmla="*/ 218200 w 1102126"/>
                <a:gd name="connsiteY19" fmla="*/ 577562 h 1217613"/>
                <a:gd name="connsiteX20" fmla="*/ 217487 w 1102126"/>
                <a:gd name="connsiteY20" fmla="*/ 592575 h 1217613"/>
                <a:gd name="connsiteX21" fmla="*/ 218913 w 1102126"/>
                <a:gd name="connsiteY21" fmla="*/ 615451 h 1217613"/>
                <a:gd name="connsiteX22" fmla="*/ 223903 w 1102126"/>
                <a:gd name="connsiteY22" fmla="*/ 651195 h 1217613"/>
                <a:gd name="connsiteX23" fmla="*/ 225328 w 1102126"/>
                <a:gd name="connsiteY23" fmla="*/ 658344 h 1217613"/>
                <a:gd name="connsiteX24" fmla="*/ 242437 w 1102126"/>
                <a:gd name="connsiteY24" fmla="*/ 707672 h 1217613"/>
                <a:gd name="connsiteX25" fmla="*/ 264535 w 1102126"/>
                <a:gd name="connsiteY25" fmla="*/ 746990 h 1217613"/>
                <a:gd name="connsiteX26" fmla="*/ 364332 w 1102126"/>
                <a:gd name="connsiteY26" fmla="*/ 837066 h 1217613"/>
                <a:gd name="connsiteX27" fmla="*/ 494069 w 1102126"/>
                <a:gd name="connsiteY27" fmla="*/ 869951 h 1217613"/>
                <a:gd name="connsiteX28" fmla="*/ 623805 w 1102126"/>
                <a:gd name="connsiteY28" fmla="*/ 837066 h 1217613"/>
                <a:gd name="connsiteX29" fmla="*/ 724316 w 1102126"/>
                <a:gd name="connsiteY29" fmla="*/ 745561 h 1217613"/>
                <a:gd name="connsiteX30" fmla="*/ 736434 w 1102126"/>
                <a:gd name="connsiteY30" fmla="*/ 725544 h 1217613"/>
                <a:gd name="connsiteX31" fmla="*/ 769937 w 1102126"/>
                <a:gd name="connsiteY31" fmla="*/ 592575 h 1217613"/>
                <a:gd name="connsiteX32" fmla="*/ 635924 w 1102126"/>
                <a:gd name="connsiteY32" fmla="*/ 355947 h 1217613"/>
                <a:gd name="connsiteX33" fmla="*/ 619528 w 1102126"/>
                <a:gd name="connsiteY33" fmla="*/ 345938 h 1217613"/>
                <a:gd name="connsiteX34" fmla="*/ 599569 w 1102126"/>
                <a:gd name="connsiteY34" fmla="*/ 337360 h 1217613"/>
                <a:gd name="connsiteX35" fmla="*/ 592440 w 1102126"/>
                <a:gd name="connsiteY35" fmla="*/ 334500 h 1217613"/>
                <a:gd name="connsiteX36" fmla="*/ 509038 w 1102126"/>
                <a:gd name="connsiteY36" fmla="*/ 316628 h 1217613"/>
                <a:gd name="connsiteX37" fmla="*/ 494069 w 1102126"/>
                <a:gd name="connsiteY37" fmla="*/ 315913 h 1217613"/>
                <a:gd name="connsiteX38" fmla="*/ 493356 w 1102126"/>
                <a:gd name="connsiteY38" fmla="*/ 315913 h 1217613"/>
                <a:gd name="connsiteX39" fmla="*/ 494232 w 1102126"/>
                <a:gd name="connsiteY39" fmla="*/ 285750 h 1217613"/>
                <a:gd name="connsiteX40" fmla="*/ 630626 w 1102126"/>
                <a:gd name="connsiteY40" fmla="*/ 317865 h 1217613"/>
                <a:gd name="connsiteX41" fmla="*/ 690611 w 1102126"/>
                <a:gd name="connsiteY41" fmla="*/ 357116 h 1217613"/>
                <a:gd name="connsiteX42" fmla="*/ 802012 w 1102126"/>
                <a:gd name="connsiteY42" fmla="*/ 593339 h 1217613"/>
                <a:gd name="connsiteX43" fmla="*/ 744883 w 1102126"/>
                <a:gd name="connsiteY43" fmla="*/ 771755 h 1217613"/>
                <a:gd name="connsiteX44" fmla="*/ 816294 w 1102126"/>
                <a:gd name="connsiteY44" fmla="*/ 845976 h 1217613"/>
                <a:gd name="connsiteX45" fmla="*/ 815580 w 1102126"/>
                <a:gd name="connsiteY45" fmla="*/ 858108 h 1217613"/>
                <a:gd name="connsiteX46" fmla="*/ 749168 w 1102126"/>
                <a:gd name="connsiteY46" fmla="*/ 920911 h 1217613"/>
                <a:gd name="connsiteX47" fmla="*/ 744883 w 1102126"/>
                <a:gd name="connsiteY47" fmla="*/ 922338 h 1217613"/>
                <a:gd name="connsiteX48" fmla="*/ 738456 w 1102126"/>
                <a:gd name="connsiteY48" fmla="*/ 919484 h 1217613"/>
                <a:gd name="connsiteX49" fmla="*/ 696324 w 1102126"/>
                <a:gd name="connsiteY49" fmla="*/ 876664 h 1217613"/>
                <a:gd name="connsiteX50" fmla="*/ 667760 w 1102126"/>
                <a:gd name="connsiteY50" fmla="*/ 848117 h 1217613"/>
                <a:gd name="connsiteX51" fmla="*/ 614916 w 1102126"/>
                <a:gd name="connsiteY51" fmla="*/ 876664 h 1217613"/>
                <a:gd name="connsiteX52" fmla="*/ 494232 w 1102126"/>
                <a:gd name="connsiteY52" fmla="*/ 901642 h 1217613"/>
                <a:gd name="connsiteX53" fmla="*/ 372833 w 1102126"/>
                <a:gd name="connsiteY53" fmla="*/ 876664 h 1217613"/>
                <a:gd name="connsiteX54" fmla="*/ 306421 w 1102126"/>
                <a:gd name="connsiteY54" fmla="*/ 837412 h 1217613"/>
                <a:gd name="connsiteX55" fmla="*/ 227155 w 1102126"/>
                <a:gd name="connsiteY55" fmla="*/ 747491 h 1217613"/>
                <a:gd name="connsiteX56" fmla="*/ 207875 w 1102126"/>
                <a:gd name="connsiteY56" fmla="*/ 708239 h 1217613"/>
                <a:gd name="connsiteX57" fmla="*/ 187165 w 1102126"/>
                <a:gd name="connsiteY57" fmla="*/ 616176 h 1217613"/>
                <a:gd name="connsiteX58" fmla="*/ 185737 w 1102126"/>
                <a:gd name="connsiteY58" fmla="*/ 593339 h 1217613"/>
                <a:gd name="connsiteX59" fmla="*/ 186451 w 1102126"/>
                <a:gd name="connsiteY59" fmla="*/ 578352 h 1217613"/>
                <a:gd name="connsiteX60" fmla="*/ 205018 w 1102126"/>
                <a:gd name="connsiteY60" fmla="*/ 486290 h 1217613"/>
                <a:gd name="connsiteX61" fmla="*/ 222871 w 1102126"/>
                <a:gd name="connsiteY61" fmla="*/ 447038 h 1217613"/>
                <a:gd name="connsiteX62" fmla="*/ 297138 w 1102126"/>
                <a:gd name="connsiteY62" fmla="*/ 357116 h 1217613"/>
                <a:gd name="connsiteX63" fmla="*/ 357837 w 1102126"/>
                <a:gd name="connsiteY63" fmla="*/ 317865 h 1217613"/>
                <a:gd name="connsiteX64" fmla="*/ 494232 w 1102126"/>
                <a:gd name="connsiteY64" fmla="*/ 285750 h 1217613"/>
                <a:gd name="connsiteX65" fmla="*/ 31750 w 1102126"/>
                <a:gd name="connsiteY65" fmla="*/ 31750 h 1217613"/>
                <a:gd name="connsiteX66" fmla="*/ 31750 w 1102126"/>
                <a:gd name="connsiteY66" fmla="*/ 1160463 h 1217613"/>
                <a:gd name="connsiteX67" fmla="*/ 866775 w 1102126"/>
                <a:gd name="connsiteY67" fmla="*/ 1160463 h 1217613"/>
                <a:gd name="connsiteX68" fmla="*/ 866775 w 1102126"/>
                <a:gd name="connsiteY68" fmla="*/ 1085549 h 1217613"/>
                <a:gd name="connsiteX69" fmla="*/ 761148 w 1102126"/>
                <a:gd name="connsiteY69" fmla="*/ 974247 h 1217613"/>
                <a:gd name="connsiteX70" fmla="*/ 761148 w 1102126"/>
                <a:gd name="connsiteY70" fmla="*/ 952129 h 1217613"/>
                <a:gd name="connsiteX71" fmla="*/ 772567 w 1102126"/>
                <a:gd name="connsiteY71" fmla="*/ 941427 h 1217613"/>
                <a:gd name="connsiteX72" fmla="*/ 841796 w 1102126"/>
                <a:gd name="connsiteY72" fmla="*/ 875074 h 1217613"/>
                <a:gd name="connsiteX73" fmla="*/ 849647 w 1102126"/>
                <a:gd name="connsiteY73" fmla="*/ 867226 h 1217613"/>
                <a:gd name="connsiteX74" fmla="*/ 861066 w 1102126"/>
                <a:gd name="connsiteY74" fmla="*/ 862945 h 1217613"/>
                <a:gd name="connsiteX75" fmla="*/ 866775 w 1102126"/>
                <a:gd name="connsiteY75" fmla="*/ 865086 h 1217613"/>
                <a:gd name="connsiteX76" fmla="*/ 866775 w 1102126"/>
                <a:gd name="connsiteY76" fmla="*/ 31750 h 1217613"/>
                <a:gd name="connsiteX77" fmla="*/ 31750 w 1102126"/>
                <a:gd name="connsiteY77" fmla="*/ 31750 h 1217613"/>
                <a:gd name="connsiteX78" fmla="*/ 15713 w 1102126"/>
                <a:gd name="connsiteY78" fmla="*/ 0 h 1217613"/>
                <a:gd name="connsiteX79" fmla="*/ 882777 w 1102126"/>
                <a:gd name="connsiteY79" fmla="*/ 0 h 1217613"/>
                <a:gd name="connsiteX80" fmla="*/ 898490 w 1102126"/>
                <a:gd name="connsiteY80" fmla="*/ 15711 h 1217613"/>
                <a:gd name="connsiteX81" fmla="*/ 898490 w 1102126"/>
                <a:gd name="connsiteY81" fmla="*/ 896249 h 1217613"/>
                <a:gd name="connsiteX82" fmla="*/ 1092758 w 1102126"/>
                <a:gd name="connsiteY82" fmla="*/ 1100494 h 1217613"/>
                <a:gd name="connsiteX83" fmla="*/ 1098472 w 1102126"/>
                <a:gd name="connsiteY83" fmla="*/ 1144771 h 1217613"/>
                <a:gd name="connsiteX84" fmla="*/ 1069903 w 1102126"/>
                <a:gd name="connsiteY84" fmla="*/ 1188333 h 1217613"/>
                <a:gd name="connsiteX85" fmla="*/ 1008480 w 1102126"/>
                <a:gd name="connsiteY85" fmla="*/ 1217613 h 1217613"/>
                <a:gd name="connsiteX86" fmla="*/ 981340 w 1102126"/>
                <a:gd name="connsiteY86" fmla="*/ 1206901 h 1217613"/>
                <a:gd name="connsiteX87" fmla="*/ 898490 w 1102126"/>
                <a:gd name="connsiteY87" fmla="*/ 1119776 h 1217613"/>
                <a:gd name="connsiteX88" fmla="*/ 898490 w 1102126"/>
                <a:gd name="connsiteY88" fmla="*/ 1176907 h 1217613"/>
                <a:gd name="connsiteX89" fmla="*/ 882777 w 1102126"/>
                <a:gd name="connsiteY89" fmla="*/ 1192618 h 1217613"/>
                <a:gd name="connsiteX90" fmla="*/ 15713 w 1102126"/>
                <a:gd name="connsiteY90" fmla="*/ 1192618 h 1217613"/>
                <a:gd name="connsiteX91" fmla="*/ 0 w 1102126"/>
                <a:gd name="connsiteY91" fmla="*/ 1176907 h 1217613"/>
                <a:gd name="connsiteX92" fmla="*/ 0 w 1102126"/>
                <a:gd name="connsiteY92" fmla="*/ 15711 h 1217613"/>
                <a:gd name="connsiteX93" fmla="*/ 15713 w 1102126"/>
                <a:gd name="connsiteY93" fmla="*/ 0 h 121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02126" h="1217613">
                  <a:moveTo>
                    <a:pt x="859623" y="901700"/>
                  </a:moveTo>
                  <a:cubicBezTo>
                    <a:pt x="859623" y="901700"/>
                    <a:pt x="859623" y="901700"/>
                    <a:pt x="793750" y="964565"/>
                  </a:cubicBezTo>
                  <a:cubicBezTo>
                    <a:pt x="793750" y="964565"/>
                    <a:pt x="824539" y="996712"/>
                    <a:pt x="866784" y="1041003"/>
                  </a:cubicBezTo>
                  <a:cubicBezTo>
                    <a:pt x="876808" y="1051005"/>
                    <a:pt x="887548" y="1062435"/>
                    <a:pt x="898288" y="1073865"/>
                  </a:cubicBezTo>
                  <a:cubicBezTo>
                    <a:pt x="932657" y="1109583"/>
                    <a:pt x="970605" y="1148874"/>
                    <a:pt x="1004974" y="1183878"/>
                  </a:cubicBezTo>
                  <a:cubicBezTo>
                    <a:pt x="1007838" y="1187450"/>
                    <a:pt x="1027170" y="1185307"/>
                    <a:pt x="1048651" y="1164590"/>
                  </a:cubicBezTo>
                  <a:cubicBezTo>
                    <a:pt x="1057959" y="1155303"/>
                    <a:pt x="1065835" y="1143873"/>
                    <a:pt x="1069415" y="1133872"/>
                  </a:cubicBezTo>
                  <a:cubicBezTo>
                    <a:pt x="1071563" y="1126728"/>
                    <a:pt x="1070847" y="1122442"/>
                    <a:pt x="1070131" y="1121013"/>
                  </a:cubicBezTo>
                  <a:cubicBezTo>
                    <a:pt x="1070131" y="1121013"/>
                    <a:pt x="959865" y="1005999"/>
                    <a:pt x="898288" y="942420"/>
                  </a:cubicBezTo>
                  <a:cubicBezTo>
                    <a:pt x="885400" y="928132"/>
                    <a:pt x="873944" y="916702"/>
                    <a:pt x="866784" y="909558"/>
                  </a:cubicBezTo>
                  <a:cubicBezTo>
                    <a:pt x="863920" y="905986"/>
                    <a:pt x="861055" y="903129"/>
                    <a:pt x="859623" y="901700"/>
                  </a:cubicBezTo>
                  <a:close/>
                  <a:moveTo>
                    <a:pt x="493356" y="315913"/>
                  </a:moveTo>
                  <a:cubicBezTo>
                    <a:pt x="488366" y="315913"/>
                    <a:pt x="483376" y="315913"/>
                    <a:pt x="479099" y="316628"/>
                  </a:cubicBezTo>
                  <a:cubicBezTo>
                    <a:pt x="432765" y="318773"/>
                    <a:pt x="389281" y="333070"/>
                    <a:pt x="351501" y="355947"/>
                  </a:cubicBezTo>
                  <a:cubicBezTo>
                    <a:pt x="314433" y="378108"/>
                    <a:pt x="283068" y="409563"/>
                    <a:pt x="259545" y="446023"/>
                  </a:cubicBezTo>
                  <a:cubicBezTo>
                    <a:pt x="258119" y="448882"/>
                    <a:pt x="255981" y="452457"/>
                    <a:pt x="254555" y="455316"/>
                  </a:cubicBezTo>
                  <a:cubicBezTo>
                    <a:pt x="248852" y="465325"/>
                    <a:pt x="243862" y="475333"/>
                    <a:pt x="239585" y="485342"/>
                  </a:cubicBezTo>
                  <a:cubicBezTo>
                    <a:pt x="234595" y="496065"/>
                    <a:pt x="231031" y="507503"/>
                    <a:pt x="228180" y="518941"/>
                  </a:cubicBezTo>
                  <a:cubicBezTo>
                    <a:pt x="224616" y="529665"/>
                    <a:pt x="222477" y="541818"/>
                    <a:pt x="220339" y="553256"/>
                  </a:cubicBezTo>
                  <a:cubicBezTo>
                    <a:pt x="219626" y="561835"/>
                    <a:pt x="218913" y="569698"/>
                    <a:pt x="218200" y="577562"/>
                  </a:cubicBezTo>
                  <a:cubicBezTo>
                    <a:pt x="218200" y="582566"/>
                    <a:pt x="217487" y="587570"/>
                    <a:pt x="217487" y="592575"/>
                  </a:cubicBezTo>
                  <a:cubicBezTo>
                    <a:pt x="217487" y="600438"/>
                    <a:pt x="218200" y="607587"/>
                    <a:pt x="218913" y="615451"/>
                  </a:cubicBezTo>
                  <a:cubicBezTo>
                    <a:pt x="219626" y="627604"/>
                    <a:pt x="221764" y="639757"/>
                    <a:pt x="223903" y="651195"/>
                  </a:cubicBezTo>
                  <a:cubicBezTo>
                    <a:pt x="224616" y="653340"/>
                    <a:pt x="225328" y="656200"/>
                    <a:pt x="225328" y="658344"/>
                  </a:cubicBezTo>
                  <a:cubicBezTo>
                    <a:pt x="229606" y="675502"/>
                    <a:pt x="235308" y="691944"/>
                    <a:pt x="242437" y="707672"/>
                  </a:cubicBezTo>
                  <a:cubicBezTo>
                    <a:pt x="248852" y="721254"/>
                    <a:pt x="255981" y="734122"/>
                    <a:pt x="264535" y="746990"/>
                  </a:cubicBezTo>
                  <a:cubicBezTo>
                    <a:pt x="289484" y="784165"/>
                    <a:pt x="323700" y="815620"/>
                    <a:pt x="364332" y="837066"/>
                  </a:cubicBezTo>
                  <a:cubicBezTo>
                    <a:pt x="402825" y="857798"/>
                    <a:pt x="447021" y="869951"/>
                    <a:pt x="494069" y="869951"/>
                  </a:cubicBezTo>
                  <a:cubicBezTo>
                    <a:pt x="541116" y="869951"/>
                    <a:pt x="584599" y="857798"/>
                    <a:pt x="623805" y="837066"/>
                  </a:cubicBezTo>
                  <a:cubicBezTo>
                    <a:pt x="664437" y="815620"/>
                    <a:pt x="698653" y="783450"/>
                    <a:pt x="724316" y="745561"/>
                  </a:cubicBezTo>
                  <a:cubicBezTo>
                    <a:pt x="728593" y="739127"/>
                    <a:pt x="732157" y="732693"/>
                    <a:pt x="736434" y="725544"/>
                  </a:cubicBezTo>
                  <a:cubicBezTo>
                    <a:pt x="757819" y="686225"/>
                    <a:pt x="769937" y="641187"/>
                    <a:pt x="769937" y="592575"/>
                  </a:cubicBezTo>
                  <a:cubicBezTo>
                    <a:pt x="769937" y="492490"/>
                    <a:pt x="716474" y="404559"/>
                    <a:pt x="635924" y="355947"/>
                  </a:cubicBezTo>
                  <a:cubicBezTo>
                    <a:pt x="630934" y="352372"/>
                    <a:pt x="625231" y="349513"/>
                    <a:pt x="619528" y="345938"/>
                  </a:cubicBezTo>
                  <a:cubicBezTo>
                    <a:pt x="613113" y="343079"/>
                    <a:pt x="606697" y="340219"/>
                    <a:pt x="599569" y="337360"/>
                  </a:cubicBezTo>
                  <a:cubicBezTo>
                    <a:pt x="597430" y="335930"/>
                    <a:pt x="594579" y="335215"/>
                    <a:pt x="592440" y="334500"/>
                  </a:cubicBezTo>
                  <a:cubicBezTo>
                    <a:pt x="566065" y="324492"/>
                    <a:pt x="538265" y="318058"/>
                    <a:pt x="509038" y="316628"/>
                  </a:cubicBezTo>
                  <a:cubicBezTo>
                    <a:pt x="504048" y="315913"/>
                    <a:pt x="499059" y="315913"/>
                    <a:pt x="494069" y="315913"/>
                  </a:cubicBezTo>
                  <a:cubicBezTo>
                    <a:pt x="494069" y="315913"/>
                    <a:pt x="493356" y="315913"/>
                    <a:pt x="493356" y="315913"/>
                  </a:cubicBezTo>
                  <a:close/>
                  <a:moveTo>
                    <a:pt x="494232" y="285750"/>
                  </a:moveTo>
                  <a:cubicBezTo>
                    <a:pt x="542791" y="285750"/>
                    <a:pt x="589208" y="297169"/>
                    <a:pt x="630626" y="317865"/>
                  </a:cubicBezTo>
                  <a:cubicBezTo>
                    <a:pt x="652049" y="328570"/>
                    <a:pt x="672758" y="341416"/>
                    <a:pt x="690611" y="357116"/>
                  </a:cubicBezTo>
                  <a:cubicBezTo>
                    <a:pt x="759165" y="413496"/>
                    <a:pt x="802012" y="498422"/>
                    <a:pt x="802012" y="593339"/>
                  </a:cubicBezTo>
                  <a:cubicBezTo>
                    <a:pt x="802012" y="659710"/>
                    <a:pt x="781303" y="721799"/>
                    <a:pt x="744883" y="771755"/>
                  </a:cubicBezTo>
                  <a:cubicBezTo>
                    <a:pt x="754166" y="781033"/>
                    <a:pt x="816294" y="845976"/>
                    <a:pt x="816294" y="845976"/>
                  </a:cubicBezTo>
                  <a:cubicBezTo>
                    <a:pt x="819150" y="849544"/>
                    <a:pt x="819150" y="854540"/>
                    <a:pt x="815580" y="858108"/>
                  </a:cubicBezTo>
                  <a:cubicBezTo>
                    <a:pt x="815580" y="858108"/>
                    <a:pt x="815580" y="858108"/>
                    <a:pt x="749168" y="920911"/>
                  </a:cubicBezTo>
                  <a:cubicBezTo>
                    <a:pt x="747740" y="921624"/>
                    <a:pt x="746311" y="922338"/>
                    <a:pt x="744883" y="922338"/>
                  </a:cubicBezTo>
                  <a:cubicBezTo>
                    <a:pt x="742741" y="922338"/>
                    <a:pt x="740598" y="920911"/>
                    <a:pt x="738456" y="919484"/>
                  </a:cubicBezTo>
                  <a:cubicBezTo>
                    <a:pt x="734171" y="915202"/>
                    <a:pt x="714176" y="895219"/>
                    <a:pt x="696324" y="876664"/>
                  </a:cubicBezTo>
                  <a:cubicBezTo>
                    <a:pt x="683470" y="863818"/>
                    <a:pt x="671330" y="851685"/>
                    <a:pt x="667760" y="848117"/>
                  </a:cubicBezTo>
                  <a:cubicBezTo>
                    <a:pt x="651335" y="858822"/>
                    <a:pt x="633482" y="868813"/>
                    <a:pt x="614916" y="876664"/>
                  </a:cubicBezTo>
                  <a:cubicBezTo>
                    <a:pt x="577782" y="892364"/>
                    <a:pt x="537078" y="901642"/>
                    <a:pt x="494232" y="901642"/>
                  </a:cubicBezTo>
                  <a:cubicBezTo>
                    <a:pt x="451385" y="901642"/>
                    <a:pt x="409967" y="892364"/>
                    <a:pt x="372833" y="876664"/>
                  </a:cubicBezTo>
                  <a:cubicBezTo>
                    <a:pt x="349268" y="866672"/>
                    <a:pt x="326416" y="853113"/>
                    <a:pt x="306421" y="837412"/>
                  </a:cubicBezTo>
                  <a:cubicBezTo>
                    <a:pt x="274287" y="813148"/>
                    <a:pt x="247150" y="782460"/>
                    <a:pt x="227155" y="747491"/>
                  </a:cubicBezTo>
                  <a:cubicBezTo>
                    <a:pt x="220014" y="734645"/>
                    <a:pt x="213587" y="721799"/>
                    <a:pt x="207875" y="708239"/>
                  </a:cubicBezTo>
                  <a:cubicBezTo>
                    <a:pt x="196449" y="678979"/>
                    <a:pt x="189308" y="648291"/>
                    <a:pt x="187165" y="616176"/>
                  </a:cubicBezTo>
                  <a:cubicBezTo>
                    <a:pt x="186451" y="608326"/>
                    <a:pt x="185737" y="601189"/>
                    <a:pt x="185737" y="593339"/>
                  </a:cubicBezTo>
                  <a:cubicBezTo>
                    <a:pt x="185737" y="588344"/>
                    <a:pt x="186451" y="583348"/>
                    <a:pt x="186451" y="578352"/>
                  </a:cubicBezTo>
                  <a:cubicBezTo>
                    <a:pt x="187880" y="546237"/>
                    <a:pt x="194307" y="515550"/>
                    <a:pt x="205018" y="486290"/>
                  </a:cubicBezTo>
                  <a:cubicBezTo>
                    <a:pt x="210017" y="472730"/>
                    <a:pt x="216444" y="459884"/>
                    <a:pt x="222871" y="447038"/>
                  </a:cubicBezTo>
                  <a:cubicBezTo>
                    <a:pt x="242152" y="412782"/>
                    <a:pt x="267145" y="382095"/>
                    <a:pt x="297138" y="357116"/>
                  </a:cubicBezTo>
                  <a:cubicBezTo>
                    <a:pt x="315705" y="341416"/>
                    <a:pt x="335700" y="328570"/>
                    <a:pt x="357837" y="317865"/>
                  </a:cubicBezTo>
                  <a:cubicBezTo>
                    <a:pt x="398541" y="297169"/>
                    <a:pt x="444958" y="285750"/>
                    <a:pt x="494232" y="285750"/>
                  </a:cubicBezTo>
                  <a:close/>
                  <a:moveTo>
                    <a:pt x="31750" y="31750"/>
                  </a:moveTo>
                  <a:cubicBezTo>
                    <a:pt x="31750" y="31750"/>
                    <a:pt x="31750" y="31750"/>
                    <a:pt x="31750" y="1160463"/>
                  </a:cubicBezTo>
                  <a:cubicBezTo>
                    <a:pt x="31750" y="1160463"/>
                    <a:pt x="31750" y="1160463"/>
                    <a:pt x="866775" y="1160463"/>
                  </a:cubicBezTo>
                  <a:lnTo>
                    <a:pt x="866775" y="1085549"/>
                  </a:lnTo>
                  <a:cubicBezTo>
                    <a:pt x="825381" y="1042027"/>
                    <a:pt x="783273" y="997078"/>
                    <a:pt x="761148" y="974247"/>
                  </a:cubicBezTo>
                  <a:cubicBezTo>
                    <a:pt x="754725" y="967826"/>
                    <a:pt x="754725" y="957837"/>
                    <a:pt x="761148" y="952129"/>
                  </a:cubicBezTo>
                  <a:cubicBezTo>
                    <a:pt x="761148" y="952129"/>
                    <a:pt x="761148" y="952129"/>
                    <a:pt x="772567" y="941427"/>
                  </a:cubicBezTo>
                  <a:cubicBezTo>
                    <a:pt x="782559" y="931439"/>
                    <a:pt x="802543" y="912175"/>
                    <a:pt x="841796" y="875074"/>
                  </a:cubicBezTo>
                  <a:cubicBezTo>
                    <a:pt x="843937" y="872220"/>
                    <a:pt x="846792" y="870080"/>
                    <a:pt x="849647" y="867226"/>
                  </a:cubicBezTo>
                  <a:cubicBezTo>
                    <a:pt x="853215" y="864372"/>
                    <a:pt x="856783" y="862945"/>
                    <a:pt x="861066" y="862945"/>
                  </a:cubicBezTo>
                  <a:cubicBezTo>
                    <a:pt x="862493" y="862945"/>
                    <a:pt x="864634" y="863659"/>
                    <a:pt x="866775" y="865086"/>
                  </a:cubicBezTo>
                  <a:cubicBezTo>
                    <a:pt x="866775" y="865086"/>
                    <a:pt x="866775" y="865086"/>
                    <a:pt x="866775" y="31750"/>
                  </a:cubicBezTo>
                  <a:cubicBezTo>
                    <a:pt x="866775" y="31750"/>
                    <a:pt x="866775" y="31750"/>
                    <a:pt x="31750" y="31750"/>
                  </a:cubicBezTo>
                  <a:close/>
                  <a:moveTo>
                    <a:pt x="15713" y="0"/>
                  </a:moveTo>
                  <a:cubicBezTo>
                    <a:pt x="15713" y="0"/>
                    <a:pt x="15713" y="0"/>
                    <a:pt x="882777" y="0"/>
                  </a:cubicBezTo>
                  <a:cubicBezTo>
                    <a:pt x="892062" y="0"/>
                    <a:pt x="898490" y="7142"/>
                    <a:pt x="898490" y="15711"/>
                  </a:cubicBezTo>
                  <a:cubicBezTo>
                    <a:pt x="898490" y="15711"/>
                    <a:pt x="898490" y="15711"/>
                    <a:pt x="898490" y="896249"/>
                  </a:cubicBezTo>
                  <a:lnTo>
                    <a:pt x="1092758" y="1100494"/>
                  </a:lnTo>
                  <a:cubicBezTo>
                    <a:pt x="1102758" y="1111206"/>
                    <a:pt x="1104900" y="1126917"/>
                    <a:pt x="1098472" y="1144771"/>
                  </a:cubicBezTo>
                  <a:cubicBezTo>
                    <a:pt x="1093473" y="1159768"/>
                    <a:pt x="1083474" y="1174765"/>
                    <a:pt x="1069903" y="1188333"/>
                  </a:cubicBezTo>
                  <a:cubicBezTo>
                    <a:pt x="1049905" y="1206901"/>
                    <a:pt x="1027050" y="1217613"/>
                    <a:pt x="1008480" y="1217613"/>
                  </a:cubicBezTo>
                  <a:cubicBezTo>
                    <a:pt x="997767" y="1217613"/>
                    <a:pt x="988482" y="1214042"/>
                    <a:pt x="981340" y="1206901"/>
                  </a:cubicBezTo>
                  <a:cubicBezTo>
                    <a:pt x="981340" y="1206901"/>
                    <a:pt x="944200" y="1167623"/>
                    <a:pt x="898490" y="1119776"/>
                  </a:cubicBezTo>
                  <a:cubicBezTo>
                    <a:pt x="898490" y="1119776"/>
                    <a:pt x="898490" y="1119776"/>
                    <a:pt x="898490" y="1176907"/>
                  </a:cubicBezTo>
                  <a:cubicBezTo>
                    <a:pt x="898490" y="1186191"/>
                    <a:pt x="892062" y="1192618"/>
                    <a:pt x="882777" y="1192618"/>
                  </a:cubicBezTo>
                  <a:cubicBezTo>
                    <a:pt x="882777" y="1192618"/>
                    <a:pt x="882777" y="1192618"/>
                    <a:pt x="15713" y="1192618"/>
                  </a:cubicBezTo>
                  <a:cubicBezTo>
                    <a:pt x="6428" y="1192618"/>
                    <a:pt x="0" y="1186191"/>
                    <a:pt x="0" y="1176907"/>
                  </a:cubicBezTo>
                  <a:cubicBezTo>
                    <a:pt x="0" y="1176907"/>
                    <a:pt x="0" y="1176907"/>
                    <a:pt x="0" y="15711"/>
                  </a:cubicBezTo>
                  <a:cubicBezTo>
                    <a:pt x="0" y="7142"/>
                    <a:pt x="6428" y="0"/>
                    <a:pt x="157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54" name="Freeform 31">
              <a:extLst>
                <a:ext uri="{FF2B5EF4-FFF2-40B4-BE49-F238E27FC236}">
                  <a16:creationId xmlns:a16="http://schemas.microsoft.com/office/drawing/2014/main" id="{F1037C6B-78A2-FC20-B964-E66AB3365905}"/>
                </a:ext>
              </a:extLst>
            </p:cNvPr>
            <p:cNvSpPr>
              <a:spLocks/>
            </p:cNvSpPr>
            <p:nvPr/>
          </p:nvSpPr>
          <p:spPr bwMode="auto">
            <a:xfrm>
              <a:off x="-3325265" y="5229549"/>
              <a:ext cx="218864" cy="311187"/>
            </a:xfrm>
            <a:custGeom>
              <a:avLst/>
              <a:gdLst>
                <a:gd name="connsiteX0" fmla="*/ 19964 w 576262"/>
                <a:gd name="connsiteY0" fmla="*/ 779463 h 819151"/>
                <a:gd name="connsiteX1" fmla="*/ 554711 w 576262"/>
                <a:gd name="connsiteY1" fmla="*/ 779463 h 819151"/>
                <a:gd name="connsiteX2" fmla="*/ 574675 w 576262"/>
                <a:gd name="connsiteY2" fmla="*/ 798946 h 819151"/>
                <a:gd name="connsiteX3" fmla="*/ 554711 w 576262"/>
                <a:gd name="connsiteY3" fmla="*/ 819151 h 819151"/>
                <a:gd name="connsiteX4" fmla="*/ 19964 w 576262"/>
                <a:gd name="connsiteY4" fmla="*/ 819151 h 819151"/>
                <a:gd name="connsiteX5" fmla="*/ 0 w 576262"/>
                <a:gd name="connsiteY5" fmla="*/ 798946 h 819151"/>
                <a:gd name="connsiteX6" fmla="*/ 19964 w 576262"/>
                <a:gd name="connsiteY6" fmla="*/ 779463 h 819151"/>
                <a:gd name="connsiteX7" fmla="*/ 19896 w 576262"/>
                <a:gd name="connsiteY7" fmla="*/ 649288 h 819151"/>
                <a:gd name="connsiteX8" fmla="*/ 99483 w 576262"/>
                <a:gd name="connsiteY8" fmla="*/ 649288 h 819151"/>
                <a:gd name="connsiteX9" fmla="*/ 149225 w 576262"/>
                <a:gd name="connsiteY9" fmla="*/ 688976 h 819151"/>
                <a:gd name="connsiteX10" fmla="*/ 19896 w 576262"/>
                <a:gd name="connsiteY10" fmla="*/ 688976 h 819151"/>
                <a:gd name="connsiteX11" fmla="*/ 0 w 576262"/>
                <a:gd name="connsiteY11" fmla="*/ 669493 h 819151"/>
                <a:gd name="connsiteX12" fmla="*/ 19896 w 576262"/>
                <a:gd name="connsiteY12" fmla="*/ 649288 h 819151"/>
                <a:gd name="connsiteX13" fmla="*/ 127000 w 576262"/>
                <a:gd name="connsiteY13" fmla="*/ 538163 h 819151"/>
                <a:gd name="connsiteX14" fmla="*/ 136993 w 576262"/>
                <a:gd name="connsiteY14" fmla="*/ 538163 h 819151"/>
                <a:gd name="connsiteX15" fmla="*/ 528170 w 576262"/>
                <a:gd name="connsiteY15" fmla="*/ 538163 h 819151"/>
                <a:gd name="connsiteX16" fmla="*/ 538163 w 576262"/>
                <a:gd name="connsiteY16" fmla="*/ 538163 h 819151"/>
                <a:gd name="connsiteX17" fmla="*/ 523173 w 576262"/>
                <a:gd name="connsiteY17" fmla="*/ 559209 h 819151"/>
                <a:gd name="connsiteX18" fmla="*/ 494620 w 576262"/>
                <a:gd name="connsiteY18" fmla="*/ 588963 h 819151"/>
                <a:gd name="connsiteX19" fmla="*/ 481057 w 576262"/>
                <a:gd name="connsiteY19" fmla="*/ 588963 h 819151"/>
                <a:gd name="connsiteX20" fmla="*/ 183392 w 576262"/>
                <a:gd name="connsiteY20" fmla="*/ 588963 h 819151"/>
                <a:gd name="connsiteX21" fmla="*/ 169830 w 576262"/>
                <a:gd name="connsiteY21" fmla="*/ 588963 h 819151"/>
                <a:gd name="connsiteX22" fmla="*/ 141990 w 576262"/>
                <a:gd name="connsiteY22" fmla="*/ 559209 h 819151"/>
                <a:gd name="connsiteX23" fmla="*/ 127000 w 576262"/>
                <a:gd name="connsiteY23" fmla="*/ 538163 h 819151"/>
                <a:gd name="connsiteX24" fmla="*/ 15153 w 576262"/>
                <a:gd name="connsiteY24" fmla="*/ 520700 h 819151"/>
                <a:gd name="connsiteX25" fmla="*/ 31750 w 576262"/>
                <a:gd name="connsiteY25" fmla="*/ 558800 h 819151"/>
                <a:gd name="connsiteX26" fmla="*/ 20204 w 576262"/>
                <a:gd name="connsiteY26" fmla="*/ 558800 h 819151"/>
                <a:gd name="connsiteX27" fmla="*/ 0 w 576262"/>
                <a:gd name="connsiteY27" fmla="*/ 539045 h 819151"/>
                <a:gd name="connsiteX28" fmla="*/ 15153 w 576262"/>
                <a:gd name="connsiteY28" fmla="*/ 520700 h 819151"/>
                <a:gd name="connsiteX29" fmla="*/ 87312 w 576262"/>
                <a:gd name="connsiteY29" fmla="*/ 422275 h 819151"/>
                <a:gd name="connsiteX30" fmla="*/ 95877 w 576262"/>
                <a:gd name="connsiteY30" fmla="*/ 422275 h 819151"/>
                <a:gd name="connsiteX31" fmla="*/ 568410 w 576262"/>
                <a:gd name="connsiteY31" fmla="*/ 422275 h 819151"/>
                <a:gd name="connsiteX32" fmla="*/ 569838 w 576262"/>
                <a:gd name="connsiteY32" fmla="*/ 422275 h 819151"/>
                <a:gd name="connsiteX33" fmla="*/ 576262 w 576262"/>
                <a:gd name="connsiteY33" fmla="*/ 422275 h 819151"/>
                <a:gd name="connsiteX34" fmla="*/ 567697 w 576262"/>
                <a:gd name="connsiteY34" fmla="*/ 473075 h 819151"/>
                <a:gd name="connsiteX35" fmla="*/ 559131 w 576262"/>
                <a:gd name="connsiteY35" fmla="*/ 473075 h 819151"/>
                <a:gd name="connsiteX36" fmla="*/ 104443 w 576262"/>
                <a:gd name="connsiteY36" fmla="*/ 473075 h 819151"/>
                <a:gd name="connsiteX37" fmla="*/ 96591 w 576262"/>
                <a:gd name="connsiteY37" fmla="*/ 473075 h 819151"/>
                <a:gd name="connsiteX38" fmla="*/ 93736 w 576262"/>
                <a:gd name="connsiteY38" fmla="*/ 463197 h 819151"/>
                <a:gd name="connsiteX39" fmla="*/ 88026 w 576262"/>
                <a:gd name="connsiteY39" fmla="*/ 432153 h 819151"/>
                <a:gd name="connsiteX40" fmla="*/ 88026 w 576262"/>
                <a:gd name="connsiteY40" fmla="*/ 428625 h 819151"/>
                <a:gd name="connsiteX41" fmla="*/ 87312 w 576262"/>
                <a:gd name="connsiteY41" fmla="*/ 422275 h 819151"/>
                <a:gd name="connsiteX42" fmla="*/ 107775 w 576262"/>
                <a:gd name="connsiteY42" fmla="*/ 307975 h 819151"/>
                <a:gd name="connsiteX43" fmla="*/ 117053 w 576262"/>
                <a:gd name="connsiteY43" fmla="*/ 307975 h 819151"/>
                <a:gd name="connsiteX44" fmla="*/ 548110 w 576262"/>
                <a:gd name="connsiteY44" fmla="*/ 307975 h 819151"/>
                <a:gd name="connsiteX45" fmla="*/ 556674 w 576262"/>
                <a:gd name="connsiteY45" fmla="*/ 307975 h 819151"/>
                <a:gd name="connsiteX46" fmla="*/ 573088 w 576262"/>
                <a:gd name="connsiteY46" fmla="*/ 358775 h 819151"/>
                <a:gd name="connsiteX47" fmla="*/ 564524 w 576262"/>
                <a:gd name="connsiteY47" fmla="*/ 358775 h 819151"/>
                <a:gd name="connsiteX48" fmla="*/ 100639 w 576262"/>
                <a:gd name="connsiteY48" fmla="*/ 358775 h 819151"/>
                <a:gd name="connsiteX49" fmla="*/ 92075 w 576262"/>
                <a:gd name="connsiteY49" fmla="*/ 358775 h 819151"/>
                <a:gd name="connsiteX50" fmla="*/ 107775 w 576262"/>
                <a:gd name="connsiteY50" fmla="*/ 307975 h 819151"/>
                <a:gd name="connsiteX51" fmla="*/ 19376 w 576262"/>
                <a:gd name="connsiteY51" fmla="*/ 258763 h 819151"/>
                <a:gd name="connsiteX52" fmla="*/ 26988 w 576262"/>
                <a:gd name="connsiteY52" fmla="*/ 258763 h 819151"/>
                <a:gd name="connsiteX53" fmla="*/ 26296 w 576262"/>
                <a:gd name="connsiteY53" fmla="*/ 259482 h 819151"/>
                <a:gd name="connsiteX54" fmla="*/ 23528 w 576262"/>
                <a:gd name="connsiteY54" fmla="*/ 265233 h 819151"/>
                <a:gd name="connsiteX55" fmla="*/ 11764 w 576262"/>
                <a:gd name="connsiteY55" fmla="*/ 296863 h 819151"/>
                <a:gd name="connsiteX56" fmla="*/ 0 w 576262"/>
                <a:gd name="connsiteY56" fmla="*/ 278891 h 819151"/>
                <a:gd name="connsiteX57" fmla="*/ 19376 w 576262"/>
                <a:gd name="connsiteY57" fmla="*/ 258763 h 819151"/>
                <a:gd name="connsiteX58" fmla="*/ 207513 w 576262"/>
                <a:gd name="connsiteY58" fmla="*/ 195263 h 819151"/>
                <a:gd name="connsiteX59" fmla="*/ 226809 w 576262"/>
                <a:gd name="connsiteY59" fmla="*/ 195263 h 819151"/>
                <a:gd name="connsiteX60" fmla="*/ 438354 w 576262"/>
                <a:gd name="connsiteY60" fmla="*/ 195263 h 819151"/>
                <a:gd name="connsiteX61" fmla="*/ 456936 w 576262"/>
                <a:gd name="connsiteY61" fmla="*/ 195263 h 819151"/>
                <a:gd name="connsiteX62" fmla="*/ 506249 w 576262"/>
                <a:gd name="connsiteY62" fmla="*/ 233363 h 819151"/>
                <a:gd name="connsiteX63" fmla="*/ 509822 w 576262"/>
                <a:gd name="connsiteY63" fmla="*/ 236185 h 819151"/>
                <a:gd name="connsiteX64" fmla="*/ 519113 w 576262"/>
                <a:gd name="connsiteY64" fmla="*/ 246063 h 819151"/>
                <a:gd name="connsiteX65" fmla="*/ 506249 w 576262"/>
                <a:gd name="connsiteY65" fmla="*/ 246063 h 819151"/>
                <a:gd name="connsiteX66" fmla="*/ 158200 w 576262"/>
                <a:gd name="connsiteY66" fmla="*/ 246063 h 819151"/>
                <a:gd name="connsiteX67" fmla="*/ 146050 w 576262"/>
                <a:gd name="connsiteY67" fmla="*/ 246063 h 819151"/>
                <a:gd name="connsiteX68" fmla="*/ 155341 w 576262"/>
                <a:gd name="connsiteY68" fmla="*/ 236185 h 819151"/>
                <a:gd name="connsiteX69" fmla="*/ 175352 w 576262"/>
                <a:gd name="connsiteY69" fmla="*/ 217841 h 819151"/>
                <a:gd name="connsiteX70" fmla="*/ 207513 w 576262"/>
                <a:gd name="connsiteY70" fmla="*/ 195263 h 819151"/>
                <a:gd name="connsiteX71" fmla="*/ 527050 w 576262"/>
                <a:gd name="connsiteY71" fmla="*/ 130175 h 819151"/>
                <a:gd name="connsiteX72" fmla="*/ 554772 w 576262"/>
                <a:gd name="connsiteY72" fmla="*/ 130175 h 819151"/>
                <a:gd name="connsiteX73" fmla="*/ 574675 w 576262"/>
                <a:gd name="connsiteY73" fmla="*/ 148927 h 819151"/>
                <a:gd name="connsiteX74" fmla="*/ 568278 w 576262"/>
                <a:gd name="connsiteY74" fmla="*/ 163513 h 819151"/>
                <a:gd name="connsiteX75" fmla="*/ 537713 w 576262"/>
                <a:gd name="connsiteY75" fmla="*/ 137815 h 819151"/>
                <a:gd name="connsiteX76" fmla="*/ 527050 w 576262"/>
                <a:gd name="connsiteY76" fmla="*/ 130175 h 819151"/>
                <a:gd name="connsiteX77" fmla="*/ 20037 w 576262"/>
                <a:gd name="connsiteY77" fmla="*/ 130175 h 819151"/>
                <a:gd name="connsiteX78" fmla="*/ 138113 w 576262"/>
                <a:gd name="connsiteY78" fmla="*/ 130175 h 819151"/>
                <a:gd name="connsiteX79" fmla="*/ 127379 w 576262"/>
                <a:gd name="connsiteY79" fmla="*/ 137795 h 819151"/>
                <a:gd name="connsiteX80" fmla="*/ 98754 w 576262"/>
                <a:gd name="connsiteY80" fmla="*/ 161348 h 819151"/>
                <a:gd name="connsiteX81" fmla="*/ 91598 w 576262"/>
                <a:gd name="connsiteY81" fmla="*/ 168275 h 819151"/>
                <a:gd name="connsiteX82" fmla="*/ 20037 w 576262"/>
                <a:gd name="connsiteY82" fmla="*/ 168275 h 819151"/>
                <a:gd name="connsiteX83" fmla="*/ 0 w 576262"/>
                <a:gd name="connsiteY83" fmla="*/ 148879 h 819151"/>
                <a:gd name="connsiteX84" fmla="*/ 20037 w 576262"/>
                <a:gd name="connsiteY84" fmla="*/ 130175 h 819151"/>
                <a:gd name="connsiteX85" fmla="*/ 19964 w 576262"/>
                <a:gd name="connsiteY85" fmla="*/ 0 h 819151"/>
                <a:gd name="connsiteX86" fmla="*/ 554711 w 576262"/>
                <a:gd name="connsiteY86" fmla="*/ 0 h 819151"/>
                <a:gd name="connsiteX87" fmla="*/ 574675 w 576262"/>
                <a:gd name="connsiteY87" fmla="*/ 20205 h 819151"/>
                <a:gd name="connsiteX88" fmla="*/ 554711 w 576262"/>
                <a:gd name="connsiteY88" fmla="*/ 39688 h 819151"/>
                <a:gd name="connsiteX89" fmla="*/ 19964 w 576262"/>
                <a:gd name="connsiteY89" fmla="*/ 39688 h 819151"/>
                <a:gd name="connsiteX90" fmla="*/ 0 w 576262"/>
                <a:gd name="connsiteY90" fmla="*/ 20205 h 819151"/>
                <a:gd name="connsiteX91" fmla="*/ 19964 w 576262"/>
                <a:gd name="connsiteY91" fmla="*/ 0 h 8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76262" h="819151">
                  <a:moveTo>
                    <a:pt x="19964" y="779463"/>
                  </a:moveTo>
                  <a:cubicBezTo>
                    <a:pt x="554711" y="779463"/>
                    <a:pt x="554711" y="779463"/>
                    <a:pt x="554711" y="779463"/>
                  </a:cubicBezTo>
                  <a:cubicBezTo>
                    <a:pt x="566832" y="779463"/>
                    <a:pt x="574675" y="788122"/>
                    <a:pt x="574675" y="798946"/>
                  </a:cubicBezTo>
                  <a:cubicBezTo>
                    <a:pt x="574675" y="809770"/>
                    <a:pt x="566832" y="819151"/>
                    <a:pt x="554711" y="819151"/>
                  </a:cubicBezTo>
                  <a:cubicBezTo>
                    <a:pt x="19964" y="819151"/>
                    <a:pt x="19964" y="819151"/>
                    <a:pt x="19964" y="819151"/>
                  </a:cubicBezTo>
                  <a:cubicBezTo>
                    <a:pt x="9269" y="819151"/>
                    <a:pt x="0" y="809770"/>
                    <a:pt x="0" y="798946"/>
                  </a:cubicBezTo>
                  <a:cubicBezTo>
                    <a:pt x="0" y="788122"/>
                    <a:pt x="9269" y="779463"/>
                    <a:pt x="19964" y="779463"/>
                  </a:cubicBezTo>
                  <a:close/>
                  <a:moveTo>
                    <a:pt x="19896" y="649288"/>
                  </a:moveTo>
                  <a:cubicBezTo>
                    <a:pt x="47610" y="649288"/>
                    <a:pt x="73902" y="649288"/>
                    <a:pt x="99483" y="649288"/>
                  </a:cubicBezTo>
                  <a:cubicBezTo>
                    <a:pt x="115116" y="664442"/>
                    <a:pt x="131460" y="677431"/>
                    <a:pt x="149225" y="688976"/>
                  </a:cubicBezTo>
                  <a:cubicBezTo>
                    <a:pt x="19896" y="688976"/>
                    <a:pt x="19896" y="688976"/>
                    <a:pt x="19896" y="688976"/>
                  </a:cubicBezTo>
                  <a:cubicBezTo>
                    <a:pt x="9237" y="688976"/>
                    <a:pt x="0" y="681039"/>
                    <a:pt x="0" y="669493"/>
                  </a:cubicBezTo>
                  <a:cubicBezTo>
                    <a:pt x="0" y="658669"/>
                    <a:pt x="9237" y="649288"/>
                    <a:pt x="19896" y="649288"/>
                  </a:cubicBezTo>
                  <a:close/>
                  <a:moveTo>
                    <a:pt x="127000" y="538163"/>
                  </a:moveTo>
                  <a:cubicBezTo>
                    <a:pt x="127000" y="538163"/>
                    <a:pt x="127000" y="538163"/>
                    <a:pt x="136993" y="538163"/>
                  </a:cubicBezTo>
                  <a:cubicBezTo>
                    <a:pt x="136993" y="538163"/>
                    <a:pt x="136993" y="538163"/>
                    <a:pt x="528170" y="538163"/>
                  </a:cubicBezTo>
                  <a:cubicBezTo>
                    <a:pt x="528170" y="538163"/>
                    <a:pt x="528170" y="538163"/>
                    <a:pt x="538163" y="538163"/>
                  </a:cubicBezTo>
                  <a:cubicBezTo>
                    <a:pt x="533166" y="545420"/>
                    <a:pt x="528170" y="552677"/>
                    <a:pt x="523173" y="559209"/>
                  </a:cubicBezTo>
                  <a:cubicBezTo>
                    <a:pt x="514607" y="570095"/>
                    <a:pt x="504613" y="580255"/>
                    <a:pt x="494620" y="588963"/>
                  </a:cubicBezTo>
                  <a:cubicBezTo>
                    <a:pt x="494620" y="588963"/>
                    <a:pt x="494620" y="588963"/>
                    <a:pt x="481057" y="588963"/>
                  </a:cubicBezTo>
                  <a:cubicBezTo>
                    <a:pt x="481057" y="588963"/>
                    <a:pt x="481057" y="588963"/>
                    <a:pt x="183392" y="588963"/>
                  </a:cubicBezTo>
                  <a:cubicBezTo>
                    <a:pt x="183392" y="588963"/>
                    <a:pt x="183392" y="588963"/>
                    <a:pt x="169830" y="588963"/>
                  </a:cubicBezTo>
                  <a:cubicBezTo>
                    <a:pt x="159836" y="580255"/>
                    <a:pt x="150556" y="570095"/>
                    <a:pt x="141990" y="559209"/>
                  </a:cubicBezTo>
                  <a:cubicBezTo>
                    <a:pt x="136279" y="552677"/>
                    <a:pt x="131283" y="545420"/>
                    <a:pt x="127000" y="538163"/>
                  </a:cubicBezTo>
                  <a:close/>
                  <a:moveTo>
                    <a:pt x="15153" y="520700"/>
                  </a:moveTo>
                  <a:cubicBezTo>
                    <a:pt x="19483" y="533400"/>
                    <a:pt x="25255" y="546100"/>
                    <a:pt x="31750" y="558800"/>
                  </a:cubicBezTo>
                  <a:cubicBezTo>
                    <a:pt x="20204" y="558800"/>
                    <a:pt x="20204" y="558800"/>
                    <a:pt x="20204" y="558800"/>
                  </a:cubicBezTo>
                  <a:cubicBezTo>
                    <a:pt x="9380" y="558800"/>
                    <a:pt x="0" y="549628"/>
                    <a:pt x="0" y="539045"/>
                  </a:cubicBezTo>
                  <a:cubicBezTo>
                    <a:pt x="0" y="530578"/>
                    <a:pt x="6494" y="522817"/>
                    <a:pt x="15153" y="520700"/>
                  </a:cubicBezTo>
                  <a:close/>
                  <a:moveTo>
                    <a:pt x="87312" y="422275"/>
                  </a:moveTo>
                  <a:cubicBezTo>
                    <a:pt x="87312" y="422275"/>
                    <a:pt x="87312" y="422275"/>
                    <a:pt x="95877" y="422275"/>
                  </a:cubicBezTo>
                  <a:cubicBezTo>
                    <a:pt x="95877" y="422275"/>
                    <a:pt x="95877" y="422275"/>
                    <a:pt x="568410" y="422275"/>
                  </a:cubicBezTo>
                  <a:lnTo>
                    <a:pt x="569838" y="422275"/>
                  </a:lnTo>
                  <a:cubicBezTo>
                    <a:pt x="569838" y="422275"/>
                    <a:pt x="569838" y="422275"/>
                    <a:pt x="576262" y="422275"/>
                  </a:cubicBezTo>
                  <a:cubicBezTo>
                    <a:pt x="575548" y="439914"/>
                    <a:pt x="571979" y="456847"/>
                    <a:pt x="567697" y="473075"/>
                  </a:cubicBezTo>
                  <a:cubicBezTo>
                    <a:pt x="567697" y="473075"/>
                    <a:pt x="567697" y="473075"/>
                    <a:pt x="559131" y="473075"/>
                  </a:cubicBezTo>
                  <a:cubicBezTo>
                    <a:pt x="559131" y="473075"/>
                    <a:pt x="559131" y="473075"/>
                    <a:pt x="104443" y="473075"/>
                  </a:cubicBezTo>
                  <a:cubicBezTo>
                    <a:pt x="104443" y="473075"/>
                    <a:pt x="104443" y="473075"/>
                    <a:pt x="96591" y="473075"/>
                  </a:cubicBezTo>
                  <a:cubicBezTo>
                    <a:pt x="95877" y="469547"/>
                    <a:pt x="94450" y="466725"/>
                    <a:pt x="93736" y="463197"/>
                  </a:cubicBezTo>
                  <a:cubicBezTo>
                    <a:pt x="91595" y="453320"/>
                    <a:pt x="89453" y="442736"/>
                    <a:pt x="88026" y="432153"/>
                  </a:cubicBezTo>
                  <a:cubicBezTo>
                    <a:pt x="88026" y="430742"/>
                    <a:pt x="88026" y="429331"/>
                    <a:pt x="88026" y="428625"/>
                  </a:cubicBezTo>
                  <a:cubicBezTo>
                    <a:pt x="88026" y="426508"/>
                    <a:pt x="87312" y="424392"/>
                    <a:pt x="87312" y="422275"/>
                  </a:cubicBezTo>
                  <a:close/>
                  <a:moveTo>
                    <a:pt x="107775" y="307975"/>
                  </a:moveTo>
                  <a:cubicBezTo>
                    <a:pt x="107775" y="307975"/>
                    <a:pt x="107775" y="307975"/>
                    <a:pt x="117053" y="307975"/>
                  </a:cubicBezTo>
                  <a:cubicBezTo>
                    <a:pt x="117053" y="307975"/>
                    <a:pt x="117053" y="307975"/>
                    <a:pt x="548110" y="307975"/>
                  </a:cubicBezTo>
                  <a:cubicBezTo>
                    <a:pt x="548110" y="307975"/>
                    <a:pt x="548110" y="307975"/>
                    <a:pt x="556674" y="307975"/>
                  </a:cubicBezTo>
                  <a:cubicBezTo>
                    <a:pt x="563811" y="324203"/>
                    <a:pt x="569520" y="341136"/>
                    <a:pt x="573088" y="358775"/>
                  </a:cubicBezTo>
                  <a:cubicBezTo>
                    <a:pt x="573088" y="358775"/>
                    <a:pt x="573088" y="358775"/>
                    <a:pt x="564524" y="358775"/>
                  </a:cubicBezTo>
                  <a:lnTo>
                    <a:pt x="100639" y="358775"/>
                  </a:lnTo>
                  <a:cubicBezTo>
                    <a:pt x="100639" y="358775"/>
                    <a:pt x="100639" y="358775"/>
                    <a:pt x="92075" y="358775"/>
                  </a:cubicBezTo>
                  <a:cubicBezTo>
                    <a:pt x="95643" y="341136"/>
                    <a:pt x="100639" y="324203"/>
                    <a:pt x="107775" y="307975"/>
                  </a:cubicBezTo>
                  <a:close/>
                  <a:moveTo>
                    <a:pt x="19376" y="258763"/>
                  </a:moveTo>
                  <a:cubicBezTo>
                    <a:pt x="21452" y="258763"/>
                    <a:pt x="24220" y="258763"/>
                    <a:pt x="26988" y="258763"/>
                  </a:cubicBezTo>
                  <a:cubicBezTo>
                    <a:pt x="26988" y="258763"/>
                    <a:pt x="26988" y="258763"/>
                    <a:pt x="26296" y="259482"/>
                  </a:cubicBezTo>
                  <a:cubicBezTo>
                    <a:pt x="26296" y="259482"/>
                    <a:pt x="26296" y="259482"/>
                    <a:pt x="23528" y="265233"/>
                  </a:cubicBezTo>
                  <a:cubicBezTo>
                    <a:pt x="19376" y="276016"/>
                    <a:pt x="15224" y="286080"/>
                    <a:pt x="11764" y="296863"/>
                  </a:cubicBezTo>
                  <a:cubicBezTo>
                    <a:pt x="4844" y="293988"/>
                    <a:pt x="0" y="286799"/>
                    <a:pt x="0" y="278891"/>
                  </a:cubicBezTo>
                  <a:cubicBezTo>
                    <a:pt x="0" y="268108"/>
                    <a:pt x="8996" y="258763"/>
                    <a:pt x="19376" y="258763"/>
                  </a:cubicBezTo>
                  <a:close/>
                  <a:moveTo>
                    <a:pt x="207513" y="195263"/>
                  </a:moveTo>
                  <a:cubicBezTo>
                    <a:pt x="207513" y="195263"/>
                    <a:pt x="207513" y="195263"/>
                    <a:pt x="226809" y="195263"/>
                  </a:cubicBezTo>
                  <a:cubicBezTo>
                    <a:pt x="226809" y="195263"/>
                    <a:pt x="226809" y="195263"/>
                    <a:pt x="438354" y="195263"/>
                  </a:cubicBezTo>
                  <a:cubicBezTo>
                    <a:pt x="438354" y="195263"/>
                    <a:pt x="438354" y="195263"/>
                    <a:pt x="456936" y="195263"/>
                  </a:cubicBezTo>
                  <a:cubicBezTo>
                    <a:pt x="475518" y="205846"/>
                    <a:pt x="491955" y="218546"/>
                    <a:pt x="506249" y="233363"/>
                  </a:cubicBezTo>
                  <a:cubicBezTo>
                    <a:pt x="507678" y="234069"/>
                    <a:pt x="508393" y="235480"/>
                    <a:pt x="509822" y="236185"/>
                  </a:cubicBezTo>
                  <a:cubicBezTo>
                    <a:pt x="512681" y="239713"/>
                    <a:pt x="515540" y="243241"/>
                    <a:pt x="519113" y="246063"/>
                  </a:cubicBezTo>
                  <a:lnTo>
                    <a:pt x="506249" y="246063"/>
                  </a:lnTo>
                  <a:cubicBezTo>
                    <a:pt x="506249" y="246063"/>
                    <a:pt x="506249" y="246063"/>
                    <a:pt x="158200" y="246063"/>
                  </a:cubicBezTo>
                  <a:cubicBezTo>
                    <a:pt x="158200" y="246063"/>
                    <a:pt x="158200" y="246063"/>
                    <a:pt x="146050" y="246063"/>
                  </a:cubicBezTo>
                  <a:cubicBezTo>
                    <a:pt x="148909" y="243241"/>
                    <a:pt x="151768" y="239713"/>
                    <a:pt x="155341" y="236185"/>
                  </a:cubicBezTo>
                  <a:cubicBezTo>
                    <a:pt x="161773" y="229835"/>
                    <a:pt x="168205" y="223485"/>
                    <a:pt x="175352" y="217841"/>
                  </a:cubicBezTo>
                  <a:cubicBezTo>
                    <a:pt x="185358" y="209374"/>
                    <a:pt x="196078" y="202319"/>
                    <a:pt x="207513" y="195263"/>
                  </a:cubicBezTo>
                  <a:close/>
                  <a:moveTo>
                    <a:pt x="527050" y="130175"/>
                  </a:moveTo>
                  <a:cubicBezTo>
                    <a:pt x="554772" y="130175"/>
                    <a:pt x="554772" y="130175"/>
                    <a:pt x="554772" y="130175"/>
                  </a:cubicBezTo>
                  <a:cubicBezTo>
                    <a:pt x="566856" y="130175"/>
                    <a:pt x="574675" y="138509"/>
                    <a:pt x="574675" y="148927"/>
                  </a:cubicBezTo>
                  <a:cubicBezTo>
                    <a:pt x="574675" y="154484"/>
                    <a:pt x="571832" y="160040"/>
                    <a:pt x="568278" y="163513"/>
                  </a:cubicBezTo>
                  <a:cubicBezTo>
                    <a:pt x="558326" y="153789"/>
                    <a:pt x="548375" y="145455"/>
                    <a:pt x="537713" y="137815"/>
                  </a:cubicBezTo>
                  <a:cubicBezTo>
                    <a:pt x="534158" y="135037"/>
                    <a:pt x="530604" y="132258"/>
                    <a:pt x="527050" y="130175"/>
                  </a:cubicBezTo>
                  <a:close/>
                  <a:moveTo>
                    <a:pt x="20037" y="130175"/>
                  </a:moveTo>
                  <a:cubicBezTo>
                    <a:pt x="62258" y="130175"/>
                    <a:pt x="101617" y="130175"/>
                    <a:pt x="138113" y="130175"/>
                  </a:cubicBezTo>
                  <a:cubicBezTo>
                    <a:pt x="134535" y="132253"/>
                    <a:pt x="130241" y="135024"/>
                    <a:pt x="127379" y="137795"/>
                  </a:cubicBezTo>
                  <a:cubicBezTo>
                    <a:pt x="115213" y="146108"/>
                    <a:pt x="106626" y="153728"/>
                    <a:pt x="98754" y="161348"/>
                  </a:cubicBezTo>
                  <a:cubicBezTo>
                    <a:pt x="96607" y="163426"/>
                    <a:pt x="94460" y="165504"/>
                    <a:pt x="91598" y="168275"/>
                  </a:cubicBezTo>
                  <a:cubicBezTo>
                    <a:pt x="20037" y="168275"/>
                    <a:pt x="20037" y="168275"/>
                    <a:pt x="20037" y="168275"/>
                  </a:cubicBezTo>
                  <a:cubicBezTo>
                    <a:pt x="9303" y="168275"/>
                    <a:pt x="0" y="159269"/>
                    <a:pt x="0" y="148879"/>
                  </a:cubicBezTo>
                  <a:cubicBezTo>
                    <a:pt x="0" y="138488"/>
                    <a:pt x="9303" y="130175"/>
                    <a:pt x="20037" y="130175"/>
                  </a:cubicBezTo>
                  <a:close/>
                  <a:moveTo>
                    <a:pt x="19964" y="0"/>
                  </a:moveTo>
                  <a:cubicBezTo>
                    <a:pt x="554711" y="0"/>
                    <a:pt x="554711" y="0"/>
                    <a:pt x="554711" y="0"/>
                  </a:cubicBezTo>
                  <a:cubicBezTo>
                    <a:pt x="566832" y="0"/>
                    <a:pt x="574675" y="7937"/>
                    <a:pt x="574675" y="20205"/>
                  </a:cubicBezTo>
                  <a:cubicBezTo>
                    <a:pt x="574675" y="31029"/>
                    <a:pt x="566832" y="39688"/>
                    <a:pt x="554711" y="39688"/>
                  </a:cubicBezTo>
                  <a:cubicBezTo>
                    <a:pt x="19964" y="39688"/>
                    <a:pt x="19964" y="39688"/>
                    <a:pt x="19964" y="39688"/>
                  </a:cubicBezTo>
                  <a:cubicBezTo>
                    <a:pt x="9269" y="39688"/>
                    <a:pt x="0" y="31029"/>
                    <a:pt x="0" y="20205"/>
                  </a:cubicBezTo>
                  <a:cubicBezTo>
                    <a:pt x="0" y="7937"/>
                    <a:pt x="9269" y="0"/>
                    <a:pt x="19964"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05" name="Group 104">
            <a:extLst>
              <a:ext uri="{FF2B5EF4-FFF2-40B4-BE49-F238E27FC236}">
                <a16:creationId xmlns:a16="http://schemas.microsoft.com/office/drawing/2014/main" id="{787FE1CA-B3F7-3D33-CDA9-AEC1E5CC41DC}"/>
              </a:ext>
            </a:extLst>
          </p:cNvPr>
          <p:cNvGrpSpPr/>
          <p:nvPr/>
        </p:nvGrpSpPr>
        <p:grpSpPr>
          <a:xfrm>
            <a:off x="5340100" y="2776876"/>
            <a:ext cx="609043" cy="402714"/>
            <a:chOff x="-2399182" y="2035514"/>
            <a:chExt cx="609043" cy="402714"/>
          </a:xfrm>
        </p:grpSpPr>
        <p:sp>
          <p:nvSpPr>
            <p:cNvPr id="58" name="Freeform 25">
              <a:extLst>
                <a:ext uri="{FF2B5EF4-FFF2-40B4-BE49-F238E27FC236}">
                  <a16:creationId xmlns:a16="http://schemas.microsoft.com/office/drawing/2014/main" id="{C42520F8-3FFE-BD8B-5393-5244D40C80DF}"/>
                </a:ext>
              </a:extLst>
            </p:cNvPr>
            <p:cNvSpPr>
              <a:spLocks noEditPoints="1"/>
            </p:cNvSpPr>
            <p:nvPr/>
          </p:nvSpPr>
          <p:spPr bwMode="auto">
            <a:xfrm>
              <a:off x="-2256630" y="2035514"/>
              <a:ext cx="466491" cy="264623"/>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26">
              <a:extLst>
                <a:ext uri="{FF2B5EF4-FFF2-40B4-BE49-F238E27FC236}">
                  <a16:creationId xmlns:a16="http://schemas.microsoft.com/office/drawing/2014/main" id="{AE50933F-AC13-544E-D7E6-C936B172A69F}"/>
                </a:ext>
              </a:extLst>
            </p:cNvPr>
            <p:cNvSpPr>
              <a:spLocks noEditPoints="1"/>
            </p:cNvSpPr>
            <p:nvPr/>
          </p:nvSpPr>
          <p:spPr bwMode="auto">
            <a:xfrm>
              <a:off x="-2399182" y="2048768"/>
              <a:ext cx="393135" cy="389460"/>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7" name="Group 106">
            <a:extLst>
              <a:ext uri="{FF2B5EF4-FFF2-40B4-BE49-F238E27FC236}">
                <a16:creationId xmlns:a16="http://schemas.microsoft.com/office/drawing/2014/main" id="{9E89A987-4369-3585-83DE-5A2FA860E880}"/>
              </a:ext>
            </a:extLst>
          </p:cNvPr>
          <p:cNvGrpSpPr/>
          <p:nvPr/>
        </p:nvGrpSpPr>
        <p:grpSpPr>
          <a:xfrm>
            <a:off x="7974708" y="4419229"/>
            <a:ext cx="548788" cy="462558"/>
            <a:chOff x="-2357866" y="3524362"/>
            <a:chExt cx="548788" cy="462558"/>
          </a:xfrm>
        </p:grpSpPr>
        <p:sp>
          <p:nvSpPr>
            <p:cNvPr id="63" name="Freeform 24">
              <a:extLst>
                <a:ext uri="{FF2B5EF4-FFF2-40B4-BE49-F238E27FC236}">
                  <a16:creationId xmlns:a16="http://schemas.microsoft.com/office/drawing/2014/main" id="{58DEDA77-95A0-9C48-B41D-CF32C6D9A914}"/>
                </a:ext>
              </a:extLst>
            </p:cNvPr>
            <p:cNvSpPr>
              <a:spLocks/>
            </p:cNvSpPr>
            <p:nvPr/>
          </p:nvSpPr>
          <p:spPr bwMode="auto">
            <a:xfrm>
              <a:off x="-2331829" y="3554398"/>
              <a:ext cx="496046" cy="401151"/>
            </a:xfrm>
            <a:custGeom>
              <a:avLst/>
              <a:gdLst>
                <a:gd name="connsiteX0" fmla="*/ 1179513 w 1179513"/>
                <a:gd name="connsiteY0" fmla="*/ 566737 h 954087"/>
                <a:gd name="connsiteX1" fmla="*/ 1179513 w 1179513"/>
                <a:gd name="connsiteY1" fmla="*/ 777875 h 954087"/>
                <a:gd name="connsiteX2" fmla="*/ 841375 w 1179513"/>
                <a:gd name="connsiteY2" fmla="*/ 950912 h 954087"/>
                <a:gd name="connsiteX3" fmla="*/ 841375 w 1179513"/>
                <a:gd name="connsiteY3" fmla="*/ 719137 h 954087"/>
                <a:gd name="connsiteX4" fmla="*/ 417513 w 1179513"/>
                <a:gd name="connsiteY4" fmla="*/ 550862 h 954087"/>
                <a:gd name="connsiteX5" fmla="*/ 811213 w 1179513"/>
                <a:gd name="connsiteY5" fmla="*/ 718873 h 954087"/>
                <a:gd name="connsiteX6" fmla="*/ 811213 w 1179513"/>
                <a:gd name="connsiteY6" fmla="*/ 954087 h 954087"/>
                <a:gd name="connsiteX7" fmla="*/ 434692 w 1179513"/>
                <a:gd name="connsiteY7" fmla="*/ 781787 h 954087"/>
                <a:gd name="connsiteX8" fmla="*/ 417513 w 1179513"/>
                <a:gd name="connsiteY8" fmla="*/ 776783 h 954087"/>
                <a:gd name="connsiteX9" fmla="*/ 385763 w 1179513"/>
                <a:gd name="connsiteY9" fmla="*/ 549275 h 954087"/>
                <a:gd name="connsiteX10" fmla="*/ 385763 w 1179513"/>
                <a:gd name="connsiteY10" fmla="*/ 775732 h 954087"/>
                <a:gd name="connsiteX11" fmla="*/ 371502 w 1179513"/>
                <a:gd name="connsiteY11" fmla="*/ 780018 h 954087"/>
                <a:gd name="connsiteX12" fmla="*/ 0 w 1179513"/>
                <a:gd name="connsiteY12" fmla="*/ 935037 h 954087"/>
                <a:gd name="connsiteX13" fmla="*/ 0 w 1179513"/>
                <a:gd name="connsiteY13" fmla="*/ 697151 h 954087"/>
                <a:gd name="connsiteX14" fmla="*/ 385763 w 1179513"/>
                <a:gd name="connsiteY14" fmla="*/ 549275 h 954087"/>
                <a:gd name="connsiteX15" fmla="*/ 1179513 w 1179513"/>
                <a:gd name="connsiteY15" fmla="*/ 279400 h 954087"/>
                <a:gd name="connsiteX16" fmla="*/ 1179513 w 1179513"/>
                <a:gd name="connsiteY16" fmla="*/ 531812 h 954087"/>
                <a:gd name="connsiteX17" fmla="*/ 841375 w 1179513"/>
                <a:gd name="connsiteY17" fmla="*/ 684212 h 954087"/>
                <a:gd name="connsiteX18" fmla="*/ 841375 w 1179513"/>
                <a:gd name="connsiteY18" fmla="*/ 407987 h 954087"/>
                <a:gd name="connsiteX19" fmla="*/ 417513 w 1179513"/>
                <a:gd name="connsiteY19" fmla="*/ 266700 h 954087"/>
                <a:gd name="connsiteX20" fmla="*/ 550655 w 1179513"/>
                <a:gd name="connsiteY20" fmla="*/ 314518 h 954087"/>
                <a:gd name="connsiteX21" fmla="*/ 541349 w 1179513"/>
                <a:gd name="connsiteY21" fmla="*/ 356626 h 954087"/>
                <a:gd name="connsiteX22" fmla="*/ 574993 w 1179513"/>
                <a:gd name="connsiteY22" fmla="*/ 454402 h 954087"/>
                <a:gd name="connsiteX23" fmla="*/ 605057 w 1179513"/>
                <a:gd name="connsiteY23" fmla="*/ 510784 h 954087"/>
                <a:gd name="connsiteX24" fmla="*/ 612215 w 1179513"/>
                <a:gd name="connsiteY24" fmla="*/ 522917 h 954087"/>
                <a:gd name="connsiteX25" fmla="*/ 642280 w 1179513"/>
                <a:gd name="connsiteY25" fmla="*/ 540046 h 954087"/>
                <a:gd name="connsiteX26" fmla="*/ 672344 w 1179513"/>
                <a:gd name="connsiteY26" fmla="*/ 522917 h 954087"/>
                <a:gd name="connsiteX27" fmla="*/ 679502 w 1179513"/>
                <a:gd name="connsiteY27" fmla="*/ 510070 h 954087"/>
                <a:gd name="connsiteX28" fmla="*/ 709567 w 1179513"/>
                <a:gd name="connsiteY28" fmla="*/ 454402 h 954087"/>
                <a:gd name="connsiteX29" fmla="*/ 738915 w 1179513"/>
                <a:gd name="connsiteY29" fmla="*/ 381605 h 954087"/>
                <a:gd name="connsiteX30" fmla="*/ 811213 w 1179513"/>
                <a:gd name="connsiteY30" fmla="*/ 408012 h 954087"/>
                <a:gd name="connsiteX31" fmla="*/ 811213 w 1179513"/>
                <a:gd name="connsiteY31" fmla="*/ 684212 h 954087"/>
                <a:gd name="connsiteX32" fmla="*/ 417513 w 1179513"/>
                <a:gd name="connsiteY32" fmla="*/ 516494 h 954087"/>
                <a:gd name="connsiteX33" fmla="*/ 417513 w 1179513"/>
                <a:gd name="connsiteY33" fmla="*/ 266700 h 954087"/>
                <a:gd name="connsiteX34" fmla="*/ 385763 w 1179513"/>
                <a:gd name="connsiteY34" fmla="*/ 266700 h 954087"/>
                <a:gd name="connsiteX35" fmla="*/ 385763 w 1179513"/>
                <a:gd name="connsiteY35" fmla="*/ 515938 h 954087"/>
                <a:gd name="connsiteX36" fmla="*/ 0 w 1179513"/>
                <a:gd name="connsiteY36" fmla="*/ 663575 h 954087"/>
                <a:gd name="connsiteX37" fmla="*/ 0 w 1179513"/>
                <a:gd name="connsiteY37" fmla="*/ 414338 h 954087"/>
                <a:gd name="connsiteX38" fmla="*/ 1179513 w 1179513"/>
                <a:gd name="connsiteY38" fmla="*/ 14287 h 954087"/>
                <a:gd name="connsiteX39" fmla="*/ 1179513 w 1179513"/>
                <a:gd name="connsiteY39" fmla="*/ 246409 h 954087"/>
                <a:gd name="connsiteX40" fmla="*/ 841375 w 1179513"/>
                <a:gd name="connsiteY40" fmla="*/ 374649 h 954087"/>
                <a:gd name="connsiteX41" fmla="*/ 841375 w 1179513"/>
                <a:gd name="connsiteY41" fmla="*/ 141811 h 954087"/>
                <a:gd name="connsiteX42" fmla="*/ 854243 w 1179513"/>
                <a:gd name="connsiteY42" fmla="*/ 138228 h 954087"/>
                <a:gd name="connsiteX43" fmla="*/ 385763 w 1179513"/>
                <a:gd name="connsiteY43" fmla="*/ 1587 h 954087"/>
                <a:gd name="connsiteX44" fmla="*/ 385763 w 1179513"/>
                <a:gd name="connsiteY44" fmla="*/ 233362 h 954087"/>
                <a:gd name="connsiteX45" fmla="*/ 0 w 1179513"/>
                <a:gd name="connsiteY45" fmla="*/ 380999 h 954087"/>
                <a:gd name="connsiteX46" fmla="*/ 0 w 1179513"/>
                <a:gd name="connsiteY46" fmla="*/ 149224 h 954087"/>
                <a:gd name="connsiteX47" fmla="*/ 417513 w 1179513"/>
                <a:gd name="connsiteY47" fmla="*/ 0 h 954087"/>
                <a:gd name="connsiteX48" fmla="*/ 801191 w 1179513"/>
                <a:gd name="connsiteY48" fmla="*/ 138255 h 954087"/>
                <a:gd name="connsiteX49" fmla="*/ 811213 w 1179513"/>
                <a:gd name="connsiteY49" fmla="*/ 141120 h 954087"/>
                <a:gd name="connsiteX50" fmla="*/ 811213 w 1179513"/>
                <a:gd name="connsiteY50" fmla="*/ 374650 h 954087"/>
                <a:gd name="connsiteX51" fmla="*/ 742494 w 1179513"/>
                <a:gd name="connsiteY51" fmla="*/ 349578 h 954087"/>
                <a:gd name="connsiteX52" fmla="*/ 642280 w 1179513"/>
                <a:gd name="connsiteY52" fmla="*/ 255020 h 954087"/>
                <a:gd name="connsiteX53" fmla="*/ 568550 w 1179513"/>
                <a:gd name="connsiteY53" fmla="*/ 287256 h 954087"/>
                <a:gd name="connsiteX54" fmla="*/ 417513 w 1179513"/>
                <a:gd name="connsiteY54" fmla="*/ 232813 h 954087"/>
                <a:gd name="connsiteX55" fmla="*/ 417513 w 1179513"/>
                <a:gd name="connsiteY55" fmla="*/ 0 h 95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79513" h="954087">
                  <a:moveTo>
                    <a:pt x="1179513" y="566737"/>
                  </a:moveTo>
                  <a:lnTo>
                    <a:pt x="1179513" y="777875"/>
                  </a:lnTo>
                  <a:lnTo>
                    <a:pt x="841375" y="950912"/>
                  </a:lnTo>
                  <a:lnTo>
                    <a:pt x="841375" y="719137"/>
                  </a:lnTo>
                  <a:close/>
                  <a:moveTo>
                    <a:pt x="417513" y="550862"/>
                  </a:moveTo>
                  <a:cubicBezTo>
                    <a:pt x="417513" y="550862"/>
                    <a:pt x="417513" y="550862"/>
                    <a:pt x="811213" y="718873"/>
                  </a:cubicBezTo>
                  <a:cubicBezTo>
                    <a:pt x="811213" y="718873"/>
                    <a:pt x="811213" y="718873"/>
                    <a:pt x="811213" y="954087"/>
                  </a:cubicBezTo>
                  <a:cubicBezTo>
                    <a:pt x="811213" y="954087"/>
                    <a:pt x="811213" y="954087"/>
                    <a:pt x="434692" y="781787"/>
                  </a:cubicBezTo>
                  <a:cubicBezTo>
                    <a:pt x="428966" y="779642"/>
                    <a:pt x="423239" y="777497"/>
                    <a:pt x="417513" y="776783"/>
                  </a:cubicBezTo>
                  <a:close/>
                  <a:moveTo>
                    <a:pt x="385763" y="549275"/>
                  </a:moveTo>
                  <a:cubicBezTo>
                    <a:pt x="385763" y="549275"/>
                    <a:pt x="385763" y="549275"/>
                    <a:pt x="385763" y="775732"/>
                  </a:cubicBezTo>
                  <a:cubicBezTo>
                    <a:pt x="380771" y="776446"/>
                    <a:pt x="375780" y="777875"/>
                    <a:pt x="371502" y="780018"/>
                  </a:cubicBezTo>
                  <a:cubicBezTo>
                    <a:pt x="371502" y="780018"/>
                    <a:pt x="371502" y="780018"/>
                    <a:pt x="0" y="935037"/>
                  </a:cubicBezTo>
                  <a:lnTo>
                    <a:pt x="0" y="697151"/>
                  </a:lnTo>
                  <a:cubicBezTo>
                    <a:pt x="0" y="697151"/>
                    <a:pt x="0" y="697151"/>
                    <a:pt x="385763" y="549275"/>
                  </a:cubicBezTo>
                  <a:close/>
                  <a:moveTo>
                    <a:pt x="1179513" y="279400"/>
                  </a:moveTo>
                  <a:lnTo>
                    <a:pt x="1179513" y="531812"/>
                  </a:lnTo>
                  <a:lnTo>
                    <a:pt x="841375" y="684212"/>
                  </a:lnTo>
                  <a:lnTo>
                    <a:pt x="841375" y="407987"/>
                  </a:lnTo>
                  <a:close/>
                  <a:moveTo>
                    <a:pt x="417513" y="266700"/>
                  </a:moveTo>
                  <a:cubicBezTo>
                    <a:pt x="417513" y="266700"/>
                    <a:pt x="417513" y="266700"/>
                    <a:pt x="550655" y="314518"/>
                  </a:cubicBezTo>
                  <a:cubicBezTo>
                    <a:pt x="544928" y="327364"/>
                    <a:pt x="541349" y="341638"/>
                    <a:pt x="541349" y="356626"/>
                  </a:cubicBezTo>
                  <a:cubicBezTo>
                    <a:pt x="541349" y="378037"/>
                    <a:pt x="551371" y="408012"/>
                    <a:pt x="574993" y="454402"/>
                  </a:cubicBezTo>
                  <a:cubicBezTo>
                    <a:pt x="590025" y="484377"/>
                    <a:pt x="605057" y="510070"/>
                    <a:pt x="605057" y="510784"/>
                  </a:cubicBezTo>
                  <a:cubicBezTo>
                    <a:pt x="605057" y="510784"/>
                    <a:pt x="605057" y="510784"/>
                    <a:pt x="612215" y="522917"/>
                  </a:cubicBezTo>
                  <a:cubicBezTo>
                    <a:pt x="618658" y="533622"/>
                    <a:pt x="630111" y="540046"/>
                    <a:pt x="642280" y="540046"/>
                  </a:cubicBezTo>
                  <a:cubicBezTo>
                    <a:pt x="654449" y="540046"/>
                    <a:pt x="665902" y="533622"/>
                    <a:pt x="672344" y="522917"/>
                  </a:cubicBezTo>
                  <a:cubicBezTo>
                    <a:pt x="672344" y="522917"/>
                    <a:pt x="672344" y="522917"/>
                    <a:pt x="679502" y="510070"/>
                  </a:cubicBezTo>
                  <a:cubicBezTo>
                    <a:pt x="679502" y="510070"/>
                    <a:pt x="694534" y="484377"/>
                    <a:pt x="709567" y="454402"/>
                  </a:cubicBezTo>
                  <a:cubicBezTo>
                    <a:pt x="724599" y="423713"/>
                    <a:pt x="733904" y="400161"/>
                    <a:pt x="738915" y="381605"/>
                  </a:cubicBezTo>
                  <a:cubicBezTo>
                    <a:pt x="738915" y="381605"/>
                    <a:pt x="738915" y="381605"/>
                    <a:pt x="811213" y="408012"/>
                  </a:cubicBezTo>
                  <a:cubicBezTo>
                    <a:pt x="811213" y="408012"/>
                    <a:pt x="811213" y="408012"/>
                    <a:pt x="811213" y="684212"/>
                  </a:cubicBezTo>
                  <a:cubicBezTo>
                    <a:pt x="811213" y="684212"/>
                    <a:pt x="811213" y="684212"/>
                    <a:pt x="417513" y="516494"/>
                  </a:cubicBezTo>
                  <a:cubicBezTo>
                    <a:pt x="417513" y="516494"/>
                    <a:pt x="417513" y="516494"/>
                    <a:pt x="417513" y="266700"/>
                  </a:cubicBezTo>
                  <a:close/>
                  <a:moveTo>
                    <a:pt x="385763" y="266700"/>
                  </a:moveTo>
                  <a:lnTo>
                    <a:pt x="385763" y="515938"/>
                  </a:lnTo>
                  <a:lnTo>
                    <a:pt x="0" y="663575"/>
                  </a:lnTo>
                  <a:lnTo>
                    <a:pt x="0" y="414338"/>
                  </a:lnTo>
                  <a:close/>
                  <a:moveTo>
                    <a:pt x="1179513" y="14287"/>
                  </a:moveTo>
                  <a:cubicBezTo>
                    <a:pt x="1179513" y="14287"/>
                    <a:pt x="1179513" y="14287"/>
                    <a:pt x="1179513" y="246409"/>
                  </a:cubicBezTo>
                  <a:cubicBezTo>
                    <a:pt x="1179513" y="246409"/>
                    <a:pt x="1179513" y="246409"/>
                    <a:pt x="841375" y="374649"/>
                  </a:cubicBezTo>
                  <a:cubicBezTo>
                    <a:pt x="841375" y="374649"/>
                    <a:pt x="841375" y="374649"/>
                    <a:pt x="841375" y="141811"/>
                  </a:cubicBezTo>
                  <a:cubicBezTo>
                    <a:pt x="846379" y="141094"/>
                    <a:pt x="850669" y="139661"/>
                    <a:pt x="854243" y="138228"/>
                  </a:cubicBezTo>
                  <a:close/>
                  <a:moveTo>
                    <a:pt x="385763" y="1587"/>
                  </a:moveTo>
                  <a:lnTo>
                    <a:pt x="385763" y="233362"/>
                  </a:lnTo>
                  <a:lnTo>
                    <a:pt x="0" y="380999"/>
                  </a:lnTo>
                  <a:lnTo>
                    <a:pt x="0" y="149224"/>
                  </a:lnTo>
                  <a:close/>
                  <a:moveTo>
                    <a:pt x="417513" y="0"/>
                  </a:moveTo>
                  <a:lnTo>
                    <a:pt x="801191" y="138255"/>
                  </a:lnTo>
                  <a:cubicBezTo>
                    <a:pt x="804770" y="139688"/>
                    <a:pt x="808349" y="140404"/>
                    <a:pt x="811213" y="141120"/>
                  </a:cubicBezTo>
                  <a:cubicBezTo>
                    <a:pt x="811213" y="141120"/>
                    <a:pt x="811213" y="141120"/>
                    <a:pt x="811213" y="374650"/>
                  </a:cubicBezTo>
                  <a:cubicBezTo>
                    <a:pt x="811213" y="374650"/>
                    <a:pt x="811213" y="374650"/>
                    <a:pt x="742494" y="349578"/>
                  </a:cubicBezTo>
                  <a:cubicBezTo>
                    <a:pt x="738915" y="296568"/>
                    <a:pt x="695250" y="255020"/>
                    <a:pt x="642280" y="255020"/>
                  </a:cubicBezTo>
                  <a:cubicBezTo>
                    <a:pt x="612931" y="255020"/>
                    <a:pt x="587162" y="267198"/>
                    <a:pt x="568550" y="287256"/>
                  </a:cubicBezTo>
                  <a:cubicBezTo>
                    <a:pt x="568550" y="287256"/>
                    <a:pt x="568550" y="287256"/>
                    <a:pt x="417513" y="232813"/>
                  </a:cubicBezTo>
                  <a:cubicBezTo>
                    <a:pt x="417513" y="232813"/>
                    <a:pt x="417513" y="232813"/>
                    <a:pt x="4175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64" name="Freeform 23">
              <a:extLst>
                <a:ext uri="{FF2B5EF4-FFF2-40B4-BE49-F238E27FC236}">
                  <a16:creationId xmlns:a16="http://schemas.microsoft.com/office/drawing/2014/main" id="{3D373EF0-997C-AD73-F56D-B50E01316743}"/>
                </a:ext>
              </a:extLst>
            </p:cNvPr>
            <p:cNvSpPr>
              <a:spLocks/>
            </p:cNvSpPr>
            <p:nvPr/>
          </p:nvSpPr>
          <p:spPr bwMode="auto">
            <a:xfrm>
              <a:off x="-2357866" y="3524362"/>
              <a:ext cx="548788" cy="462558"/>
            </a:xfrm>
            <a:custGeom>
              <a:avLst/>
              <a:gdLst>
                <a:gd name="connsiteX0" fmla="*/ 704410 w 1304925"/>
                <a:gd name="connsiteY0" fmla="*/ 398463 h 1100137"/>
                <a:gd name="connsiteX1" fmla="*/ 683870 w 1304925"/>
                <a:gd name="connsiteY1" fmla="*/ 411212 h 1100137"/>
                <a:gd name="connsiteX2" fmla="*/ 681037 w 1304925"/>
                <a:gd name="connsiteY2" fmla="*/ 421836 h 1100137"/>
                <a:gd name="connsiteX3" fmla="*/ 704410 w 1304925"/>
                <a:gd name="connsiteY3" fmla="*/ 444500 h 1100137"/>
                <a:gd name="connsiteX4" fmla="*/ 726367 w 1304925"/>
                <a:gd name="connsiteY4" fmla="*/ 426794 h 1100137"/>
                <a:gd name="connsiteX5" fmla="*/ 727075 w 1304925"/>
                <a:gd name="connsiteY5" fmla="*/ 421836 h 1100137"/>
                <a:gd name="connsiteX6" fmla="*/ 704410 w 1304925"/>
                <a:gd name="connsiteY6" fmla="*/ 398463 h 1100137"/>
                <a:gd name="connsiteX7" fmla="*/ 704415 w 1304925"/>
                <a:gd name="connsiteY7" fmla="*/ 357188 h 1100137"/>
                <a:gd name="connsiteX8" fmla="*/ 770251 w 1304925"/>
                <a:gd name="connsiteY8" fmla="*/ 407927 h 1100137"/>
                <a:gd name="connsiteX9" fmla="*/ 773113 w 1304925"/>
                <a:gd name="connsiteY9" fmla="*/ 427222 h 1100137"/>
                <a:gd name="connsiteX10" fmla="*/ 771682 w 1304925"/>
                <a:gd name="connsiteY10" fmla="*/ 441514 h 1100137"/>
                <a:gd name="connsiteX11" fmla="*/ 743058 w 1304925"/>
                <a:gd name="connsiteY11" fmla="*/ 510834 h 1100137"/>
                <a:gd name="connsiteX12" fmla="*/ 714433 w 1304925"/>
                <a:gd name="connsiteY12" fmla="*/ 565146 h 1100137"/>
                <a:gd name="connsiteX13" fmla="*/ 706561 w 1304925"/>
                <a:gd name="connsiteY13" fmla="*/ 578009 h 1100137"/>
                <a:gd name="connsiteX14" fmla="*/ 704415 w 1304925"/>
                <a:gd name="connsiteY14" fmla="*/ 579438 h 1100137"/>
                <a:gd name="connsiteX15" fmla="*/ 701552 w 1304925"/>
                <a:gd name="connsiteY15" fmla="*/ 578009 h 1100137"/>
                <a:gd name="connsiteX16" fmla="*/ 694396 w 1304925"/>
                <a:gd name="connsiteY16" fmla="*/ 565146 h 1100137"/>
                <a:gd name="connsiteX17" fmla="*/ 665056 w 1304925"/>
                <a:gd name="connsiteY17" fmla="*/ 510834 h 1100137"/>
                <a:gd name="connsiteX18" fmla="*/ 635000 w 1304925"/>
                <a:gd name="connsiteY18" fmla="*/ 427222 h 1100137"/>
                <a:gd name="connsiteX19" fmla="*/ 642872 w 1304925"/>
                <a:gd name="connsiteY19" fmla="*/ 395778 h 1100137"/>
                <a:gd name="connsiteX20" fmla="*/ 664340 w 1304925"/>
                <a:gd name="connsiteY20" fmla="*/ 370051 h 1100137"/>
                <a:gd name="connsiteX21" fmla="*/ 704415 w 1304925"/>
                <a:gd name="connsiteY21" fmla="*/ 357188 h 1100137"/>
                <a:gd name="connsiteX22" fmla="*/ 464502 w 1304925"/>
                <a:gd name="connsiteY22" fmla="*/ 33338 h 1100137"/>
                <a:gd name="connsiteX23" fmla="*/ 448072 w 1304925"/>
                <a:gd name="connsiteY23" fmla="*/ 39770 h 1100137"/>
                <a:gd name="connsiteX24" fmla="*/ 30162 w 1304925"/>
                <a:gd name="connsiteY24" fmla="*/ 199149 h 1100137"/>
                <a:gd name="connsiteX25" fmla="*/ 30162 w 1304925"/>
                <a:gd name="connsiteY25" fmla="*/ 464305 h 1100137"/>
                <a:gd name="connsiteX26" fmla="*/ 30162 w 1304925"/>
                <a:gd name="connsiteY26" fmla="*/ 481458 h 1100137"/>
                <a:gd name="connsiteX27" fmla="*/ 30162 w 1304925"/>
                <a:gd name="connsiteY27" fmla="*/ 748042 h 1100137"/>
                <a:gd name="connsiteX28" fmla="*/ 30162 w 1304925"/>
                <a:gd name="connsiteY28" fmla="*/ 764480 h 1100137"/>
                <a:gd name="connsiteX29" fmla="*/ 30162 w 1304925"/>
                <a:gd name="connsiteY29" fmla="*/ 1054650 h 1100137"/>
                <a:gd name="connsiteX30" fmla="*/ 445929 w 1304925"/>
                <a:gd name="connsiteY30" fmla="*/ 880977 h 1100137"/>
                <a:gd name="connsiteX31" fmla="*/ 459502 w 1304925"/>
                <a:gd name="connsiteY31" fmla="*/ 878118 h 1100137"/>
                <a:gd name="connsiteX32" fmla="*/ 460216 w 1304925"/>
                <a:gd name="connsiteY32" fmla="*/ 878118 h 1100137"/>
                <a:gd name="connsiteX33" fmla="*/ 463788 w 1304925"/>
                <a:gd name="connsiteY33" fmla="*/ 877404 h 1100137"/>
                <a:gd name="connsiteX34" fmla="*/ 478790 w 1304925"/>
                <a:gd name="connsiteY34" fmla="*/ 880262 h 1100137"/>
                <a:gd name="connsiteX35" fmla="*/ 483076 w 1304925"/>
                <a:gd name="connsiteY35" fmla="*/ 881692 h 1100137"/>
                <a:gd name="connsiteX36" fmla="*/ 872411 w 1304925"/>
                <a:gd name="connsiteY36" fmla="*/ 1059653 h 1100137"/>
                <a:gd name="connsiteX37" fmla="*/ 888127 w 1304925"/>
                <a:gd name="connsiteY37" fmla="*/ 1066800 h 1100137"/>
                <a:gd name="connsiteX38" fmla="*/ 903843 w 1304925"/>
                <a:gd name="connsiteY38" fmla="*/ 1058938 h 1100137"/>
                <a:gd name="connsiteX39" fmla="*/ 1273175 w 1304925"/>
                <a:gd name="connsiteY39" fmla="*/ 868827 h 1100137"/>
                <a:gd name="connsiteX40" fmla="*/ 1273175 w 1304925"/>
                <a:gd name="connsiteY40" fmla="*/ 623684 h 1100137"/>
                <a:gd name="connsiteX41" fmla="*/ 1273175 w 1304925"/>
                <a:gd name="connsiteY41" fmla="*/ 606531 h 1100137"/>
                <a:gd name="connsiteX42" fmla="*/ 1273175 w 1304925"/>
                <a:gd name="connsiteY42" fmla="*/ 339946 h 1100137"/>
                <a:gd name="connsiteX43" fmla="*/ 1273175 w 1304925"/>
                <a:gd name="connsiteY43" fmla="*/ 322793 h 1100137"/>
                <a:gd name="connsiteX44" fmla="*/ 1273175 w 1304925"/>
                <a:gd name="connsiteY44" fmla="*/ 41200 h 1100137"/>
                <a:gd name="connsiteX45" fmla="*/ 905986 w 1304925"/>
                <a:gd name="connsiteY45" fmla="*/ 180567 h 1100137"/>
                <a:gd name="connsiteX46" fmla="*/ 897414 w 1304925"/>
                <a:gd name="connsiteY46" fmla="*/ 182711 h 1100137"/>
                <a:gd name="connsiteX47" fmla="*/ 893128 w 1304925"/>
                <a:gd name="connsiteY47" fmla="*/ 183426 h 1100137"/>
                <a:gd name="connsiteX48" fmla="*/ 891699 w 1304925"/>
                <a:gd name="connsiteY48" fmla="*/ 183426 h 1100137"/>
                <a:gd name="connsiteX49" fmla="*/ 888841 w 1304925"/>
                <a:gd name="connsiteY49" fmla="*/ 183426 h 1100137"/>
                <a:gd name="connsiteX50" fmla="*/ 887413 w 1304925"/>
                <a:gd name="connsiteY50" fmla="*/ 183426 h 1100137"/>
                <a:gd name="connsiteX51" fmla="*/ 885984 w 1304925"/>
                <a:gd name="connsiteY51" fmla="*/ 183426 h 1100137"/>
                <a:gd name="connsiteX52" fmla="*/ 883841 w 1304925"/>
                <a:gd name="connsiteY52" fmla="*/ 182711 h 1100137"/>
                <a:gd name="connsiteX53" fmla="*/ 883126 w 1304925"/>
                <a:gd name="connsiteY53" fmla="*/ 182711 h 1100137"/>
                <a:gd name="connsiteX54" fmla="*/ 877411 w 1304925"/>
                <a:gd name="connsiteY54" fmla="*/ 181997 h 1100137"/>
                <a:gd name="connsiteX55" fmla="*/ 875983 w 1304925"/>
                <a:gd name="connsiteY55" fmla="*/ 181282 h 1100137"/>
                <a:gd name="connsiteX56" fmla="*/ 873125 w 1304925"/>
                <a:gd name="connsiteY56" fmla="*/ 180567 h 1100137"/>
                <a:gd name="connsiteX57" fmla="*/ 534511 w 1304925"/>
                <a:gd name="connsiteY57" fmla="*/ 58353 h 1100137"/>
                <a:gd name="connsiteX58" fmla="*/ 479504 w 1304925"/>
                <a:gd name="connsiteY58" fmla="*/ 38341 h 1100137"/>
                <a:gd name="connsiteX59" fmla="*/ 464502 w 1304925"/>
                <a:gd name="connsiteY59" fmla="*/ 33338 h 1100137"/>
                <a:gd name="connsiteX60" fmla="*/ 465433 w 1304925"/>
                <a:gd name="connsiteY60" fmla="*/ 0 h 1100137"/>
                <a:gd name="connsiteX61" fmla="*/ 470430 w 1304925"/>
                <a:gd name="connsiteY61" fmla="*/ 1430 h 1100137"/>
                <a:gd name="connsiteX62" fmla="*/ 884465 w 1304925"/>
                <a:gd name="connsiteY62" fmla="*/ 150831 h 1100137"/>
                <a:gd name="connsiteX63" fmla="*/ 889462 w 1304925"/>
                <a:gd name="connsiteY63" fmla="*/ 151546 h 1100137"/>
                <a:gd name="connsiteX64" fmla="*/ 895173 w 1304925"/>
                <a:gd name="connsiteY64" fmla="*/ 150116 h 1100137"/>
                <a:gd name="connsiteX65" fmla="*/ 1283510 w 1304925"/>
                <a:gd name="connsiteY65" fmla="*/ 2859 h 1100137"/>
                <a:gd name="connsiteX66" fmla="*/ 1289220 w 1304925"/>
                <a:gd name="connsiteY66" fmla="*/ 2145 h 1100137"/>
                <a:gd name="connsiteX67" fmla="*/ 1304925 w 1304925"/>
                <a:gd name="connsiteY67" fmla="*/ 17871 h 1100137"/>
                <a:gd name="connsiteX68" fmla="*/ 1304925 w 1304925"/>
                <a:gd name="connsiteY68" fmla="*/ 877822 h 1100137"/>
                <a:gd name="connsiteX69" fmla="*/ 1296359 w 1304925"/>
                <a:gd name="connsiteY69" fmla="*/ 892119 h 1100137"/>
                <a:gd name="connsiteX70" fmla="*/ 896601 w 1304925"/>
                <a:gd name="connsiteY70" fmla="*/ 1097993 h 1100137"/>
                <a:gd name="connsiteX71" fmla="*/ 889462 w 1304925"/>
                <a:gd name="connsiteY71" fmla="*/ 1100137 h 1100137"/>
                <a:gd name="connsiteX72" fmla="*/ 883038 w 1304925"/>
                <a:gd name="connsiteY72" fmla="*/ 1098708 h 1100137"/>
                <a:gd name="connsiteX73" fmla="*/ 471144 w 1304925"/>
                <a:gd name="connsiteY73" fmla="*/ 909990 h 1100137"/>
                <a:gd name="connsiteX74" fmla="*/ 464719 w 1304925"/>
                <a:gd name="connsiteY74" fmla="*/ 908560 h 1100137"/>
                <a:gd name="connsiteX75" fmla="*/ 459008 w 1304925"/>
                <a:gd name="connsiteY75" fmla="*/ 909990 h 1100137"/>
                <a:gd name="connsiteX76" fmla="*/ 21416 w 1304925"/>
                <a:gd name="connsiteY76" fmla="*/ 1092274 h 1100137"/>
                <a:gd name="connsiteX77" fmla="*/ 15705 w 1304925"/>
                <a:gd name="connsiteY77" fmla="*/ 1093704 h 1100137"/>
                <a:gd name="connsiteX78" fmla="*/ 0 w 1304925"/>
                <a:gd name="connsiteY78" fmla="*/ 1077977 h 1100137"/>
                <a:gd name="connsiteX79" fmla="*/ 0 w 1304925"/>
                <a:gd name="connsiteY79" fmla="*/ 188003 h 1100137"/>
                <a:gd name="connsiteX80" fmla="*/ 9994 w 1304925"/>
                <a:gd name="connsiteY80" fmla="*/ 172991 h 1100137"/>
                <a:gd name="connsiteX81" fmla="*/ 459722 w 1304925"/>
                <a:gd name="connsiteY81" fmla="*/ 1430 h 1100137"/>
                <a:gd name="connsiteX82" fmla="*/ 465433 w 1304925"/>
                <a:gd name="connsiteY82"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304925" h="1100137">
                  <a:moveTo>
                    <a:pt x="704410" y="398463"/>
                  </a:moveTo>
                  <a:cubicBezTo>
                    <a:pt x="695203" y="398463"/>
                    <a:pt x="687412" y="403421"/>
                    <a:pt x="683870" y="411212"/>
                  </a:cubicBezTo>
                  <a:cubicBezTo>
                    <a:pt x="681746" y="414045"/>
                    <a:pt x="681037" y="417586"/>
                    <a:pt x="681037" y="421836"/>
                  </a:cubicBezTo>
                  <a:cubicBezTo>
                    <a:pt x="681037" y="434584"/>
                    <a:pt x="691661" y="444500"/>
                    <a:pt x="704410" y="444500"/>
                  </a:cubicBezTo>
                  <a:cubicBezTo>
                    <a:pt x="715035" y="444500"/>
                    <a:pt x="724242" y="437418"/>
                    <a:pt x="726367" y="426794"/>
                  </a:cubicBezTo>
                  <a:cubicBezTo>
                    <a:pt x="727075" y="425377"/>
                    <a:pt x="727075" y="423252"/>
                    <a:pt x="727075" y="421836"/>
                  </a:cubicBezTo>
                  <a:cubicBezTo>
                    <a:pt x="727075" y="409087"/>
                    <a:pt x="717159" y="398463"/>
                    <a:pt x="704410" y="398463"/>
                  </a:cubicBezTo>
                  <a:close/>
                  <a:moveTo>
                    <a:pt x="704415" y="357188"/>
                  </a:moveTo>
                  <a:cubicBezTo>
                    <a:pt x="735901" y="357188"/>
                    <a:pt x="762379" y="378627"/>
                    <a:pt x="770251" y="407927"/>
                  </a:cubicBezTo>
                  <a:cubicBezTo>
                    <a:pt x="772398" y="414359"/>
                    <a:pt x="773113" y="420790"/>
                    <a:pt x="773113" y="427222"/>
                  </a:cubicBezTo>
                  <a:cubicBezTo>
                    <a:pt x="773113" y="431510"/>
                    <a:pt x="772398" y="436512"/>
                    <a:pt x="771682" y="441514"/>
                  </a:cubicBezTo>
                  <a:cubicBezTo>
                    <a:pt x="767388" y="457951"/>
                    <a:pt x="758085" y="480819"/>
                    <a:pt x="743058" y="510834"/>
                  </a:cubicBezTo>
                  <a:cubicBezTo>
                    <a:pt x="728745" y="540133"/>
                    <a:pt x="714433" y="565146"/>
                    <a:pt x="714433" y="565146"/>
                  </a:cubicBezTo>
                  <a:cubicBezTo>
                    <a:pt x="714433" y="565146"/>
                    <a:pt x="714433" y="565146"/>
                    <a:pt x="706561" y="578009"/>
                  </a:cubicBezTo>
                  <a:cubicBezTo>
                    <a:pt x="706561" y="578724"/>
                    <a:pt x="705130" y="579438"/>
                    <a:pt x="704415" y="579438"/>
                  </a:cubicBezTo>
                  <a:cubicBezTo>
                    <a:pt x="703699" y="579438"/>
                    <a:pt x="702268" y="578724"/>
                    <a:pt x="701552" y="578009"/>
                  </a:cubicBezTo>
                  <a:cubicBezTo>
                    <a:pt x="701552" y="578009"/>
                    <a:pt x="701552" y="578009"/>
                    <a:pt x="694396" y="565146"/>
                  </a:cubicBezTo>
                  <a:cubicBezTo>
                    <a:pt x="694396" y="565146"/>
                    <a:pt x="679368" y="540133"/>
                    <a:pt x="665056" y="510834"/>
                  </a:cubicBezTo>
                  <a:cubicBezTo>
                    <a:pt x="645019" y="470100"/>
                    <a:pt x="635000" y="442944"/>
                    <a:pt x="635000" y="427222"/>
                  </a:cubicBezTo>
                  <a:cubicBezTo>
                    <a:pt x="635000" y="415788"/>
                    <a:pt x="637863" y="405068"/>
                    <a:pt x="642872" y="395778"/>
                  </a:cubicBezTo>
                  <a:cubicBezTo>
                    <a:pt x="647881" y="385059"/>
                    <a:pt x="655037" y="376483"/>
                    <a:pt x="664340" y="370051"/>
                  </a:cubicBezTo>
                  <a:cubicBezTo>
                    <a:pt x="675790" y="361476"/>
                    <a:pt x="689387" y="357188"/>
                    <a:pt x="704415" y="357188"/>
                  </a:cubicBezTo>
                  <a:close/>
                  <a:moveTo>
                    <a:pt x="464502" y="33338"/>
                  </a:moveTo>
                  <a:cubicBezTo>
                    <a:pt x="464502" y="33338"/>
                    <a:pt x="464502" y="33338"/>
                    <a:pt x="448072" y="39770"/>
                  </a:cubicBezTo>
                  <a:cubicBezTo>
                    <a:pt x="448072" y="39770"/>
                    <a:pt x="448072" y="39770"/>
                    <a:pt x="30162" y="199149"/>
                  </a:cubicBezTo>
                  <a:cubicBezTo>
                    <a:pt x="30162" y="199149"/>
                    <a:pt x="30162" y="199149"/>
                    <a:pt x="30162" y="464305"/>
                  </a:cubicBezTo>
                  <a:cubicBezTo>
                    <a:pt x="30162" y="464305"/>
                    <a:pt x="30162" y="464305"/>
                    <a:pt x="30162" y="481458"/>
                  </a:cubicBezTo>
                  <a:cubicBezTo>
                    <a:pt x="30162" y="481458"/>
                    <a:pt x="30162" y="481458"/>
                    <a:pt x="30162" y="748042"/>
                  </a:cubicBezTo>
                  <a:cubicBezTo>
                    <a:pt x="30162" y="748042"/>
                    <a:pt x="30162" y="748042"/>
                    <a:pt x="30162" y="764480"/>
                  </a:cubicBezTo>
                  <a:cubicBezTo>
                    <a:pt x="30162" y="764480"/>
                    <a:pt x="30162" y="764480"/>
                    <a:pt x="30162" y="1054650"/>
                  </a:cubicBezTo>
                  <a:cubicBezTo>
                    <a:pt x="30162" y="1054650"/>
                    <a:pt x="30162" y="1054650"/>
                    <a:pt x="445929" y="880977"/>
                  </a:cubicBezTo>
                  <a:cubicBezTo>
                    <a:pt x="450215" y="879548"/>
                    <a:pt x="454501" y="878118"/>
                    <a:pt x="459502" y="878118"/>
                  </a:cubicBezTo>
                  <a:cubicBezTo>
                    <a:pt x="459502" y="878118"/>
                    <a:pt x="460216" y="878118"/>
                    <a:pt x="460216" y="878118"/>
                  </a:cubicBezTo>
                  <a:cubicBezTo>
                    <a:pt x="461645" y="877404"/>
                    <a:pt x="463074" y="877404"/>
                    <a:pt x="463788" y="877404"/>
                  </a:cubicBezTo>
                  <a:cubicBezTo>
                    <a:pt x="468789" y="877404"/>
                    <a:pt x="473789" y="878118"/>
                    <a:pt x="478790" y="880262"/>
                  </a:cubicBezTo>
                  <a:cubicBezTo>
                    <a:pt x="480219" y="880262"/>
                    <a:pt x="481647" y="880977"/>
                    <a:pt x="483076" y="881692"/>
                  </a:cubicBezTo>
                  <a:cubicBezTo>
                    <a:pt x="483076" y="881692"/>
                    <a:pt x="483076" y="881692"/>
                    <a:pt x="872411" y="1059653"/>
                  </a:cubicBezTo>
                  <a:cubicBezTo>
                    <a:pt x="872411" y="1059653"/>
                    <a:pt x="872411" y="1059653"/>
                    <a:pt x="888127" y="1066800"/>
                  </a:cubicBezTo>
                  <a:cubicBezTo>
                    <a:pt x="888127" y="1066800"/>
                    <a:pt x="888127" y="1066800"/>
                    <a:pt x="903843" y="1058938"/>
                  </a:cubicBezTo>
                  <a:cubicBezTo>
                    <a:pt x="903843" y="1058938"/>
                    <a:pt x="903843" y="1058938"/>
                    <a:pt x="1273175" y="868827"/>
                  </a:cubicBezTo>
                  <a:lnTo>
                    <a:pt x="1273175" y="623684"/>
                  </a:lnTo>
                  <a:cubicBezTo>
                    <a:pt x="1273175" y="623684"/>
                    <a:pt x="1273175" y="623684"/>
                    <a:pt x="1273175" y="606531"/>
                  </a:cubicBezTo>
                  <a:cubicBezTo>
                    <a:pt x="1273175" y="606531"/>
                    <a:pt x="1273175" y="606531"/>
                    <a:pt x="1273175" y="339946"/>
                  </a:cubicBezTo>
                  <a:cubicBezTo>
                    <a:pt x="1273175" y="339946"/>
                    <a:pt x="1273175" y="339946"/>
                    <a:pt x="1273175" y="322793"/>
                  </a:cubicBezTo>
                  <a:cubicBezTo>
                    <a:pt x="1273175" y="322793"/>
                    <a:pt x="1273175" y="322793"/>
                    <a:pt x="1273175" y="41200"/>
                  </a:cubicBezTo>
                  <a:cubicBezTo>
                    <a:pt x="1273175" y="41200"/>
                    <a:pt x="1273175" y="41200"/>
                    <a:pt x="905986" y="180567"/>
                  </a:cubicBezTo>
                  <a:cubicBezTo>
                    <a:pt x="903129" y="181282"/>
                    <a:pt x="900271" y="181997"/>
                    <a:pt x="897414" y="182711"/>
                  </a:cubicBezTo>
                  <a:cubicBezTo>
                    <a:pt x="895985" y="182711"/>
                    <a:pt x="894556" y="182711"/>
                    <a:pt x="893128" y="183426"/>
                  </a:cubicBezTo>
                  <a:cubicBezTo>
                    <a:pt x="893128" y="183426"/>
                    <a:pt x="892413" y="183426"/>
                    <a:pt x="891699" y="183426"/>
                  </a:cubicBezTo>
                  <a:cubicBezTo>
                    <a:pt x="890984" y="183426"/>
                    <a:pt x="890270" y="183426"/>
                    <a:pt x="888841" y="183426"/>
                  </a:cubicBezTo>
                  <a:cubicBezTo>
                    <a:pt x="888841" y="183426"/>
                    <a:pt x="888127" y="183426"/>
                    <a:pt x="887413" y="183426"/>
                  </a:cubicBezTo>
                  <a:cubicBezTo>
                    <a:pt x="886698" y="183426"/>
                    <a:pt x="886698" y="183426"/>
                    <a:pt x="885984" y="183426"/>
                  </a:cubicBezTo>
                  <a:cubicBezTo>
                    <a:pt x="885269" y="183426"/>
                    <a:pt x="884555" y="182711"/>
                    <a:pt x="883841" y="182711"/>
                  </a:cubicBezTo>
                  <a:cubicBezTo>
                    <a:pt x="883841" y="182711"/>
                    <a:pt x="883126" y="182711"/>
                    <a:pt x="883126" y="182711"/>
                  </a:cubicBezTo>
                  <a:cubicBezTo>
                    <a:pt x="880983" y="182711"/>
                    <a:pt x="878840" y="181997"/>
                    <a:pt x="877411" y="181997"/>
                  </a:cubicBezTo>
                  <a:cubicBezTo>
                    <a:pt x="876697" y="181282"/>
                    <a:pt x="875983" y="181282"/>
                    <a:pt x="875983" y="181282"/>
                  </a:cubicBezTo>
                  <a:cubicBezTo>
                    <a:pt x="875268" y="181282"/>
                    <a:pt x="873839" y="180567"/>
                    <a:pt x="873125" y="180567"/>
                  </a:cubicBezTo>
                  <a:cubicBezTo>
                    <a:pt x="873125" y="180567"/>
                    <a:pt x="873125" y="180567"/>
                    <a:pt x="534511" y="58353"/>
                  </a:cubicBezTo>
                  <a:cubicBezTo>
                    <a:pt x="534511" y="58353"/>
                    <a:pt x="534511" y="58353"/>
                    <a:pt x="479504" y="38341"/>
                  </a:cubicBezTo>
                  <a:cubicBezTo>
                    <a:pt x="479504" y="38341"/>
                    <a:pt x="479504" y="38341"/>
                    <a:pt x="464502" y="33338"/>
                  </a:cubicBezTo>
                  <a:close/>
                  <a:moveTo>
                    <a:pt x="465433" y="0"/>
                  </a:moveTo>
                  <a:cubicBezTo>
                    <a:pt x="466861" y="0"/>
                    <a:pt x="469002" y="715"/>
                    <a:pt x="470430" y="1430"/>
                  </a:cubicBezTo>
                  <a:cubicBezTo>
                    <a:pt x="470430" y="1430"/>
                    <a:pt x="470430" y="1430"/>
                    <a:pt x="884465" y="150831"/>
                  </a:cubicBezTo>
                  <a:cubicBezTo>
                    <a:pt x="885893" y="150831"/>
                    <a:pt x="888035" y="151546"/>
                    <a:pt x="889462" y="151546"/>
                  </a:cubicBezTo>
                  <a:cubicBezTo>
                    <a:pt x="891604" y="151546"/>
                    <a:pt x="893745" y="150831"/>
                    <a:pt x="895173" y="150116"/>
                  </a:cubicBezTo>
                  <a:cubicBezTo>
                    <a:pt x="895173" y="150116"/>
                    <a:pt x="895173" y="150116"/>
                    <a:pt x="1283510" y="2859"/>
                  </a:cubicBezTo>
                  <a:cubicBezTo>
                    <a:pt x="1285651" y="2145"/>
                    <a:pt x="1287079" y="2145"/>
                    <a:pt x="1289220" y="2145"/>
                  </a:cubicBezTo>
                  <a:cubicBezTo>
                    <a:pt x="1297787" y="2145"/>
                    <a:pt x="1304925" y="8578"/>
                    <a:pt x="1304925" y="17871"/>
                  </a:cubicBezTo>
                  <a:cubicBezTo>
                    <a:pt x="1304925" y="17871"/>
                    <a:pt x="1304925" y="17871"/>
                    <a:pt x="1304925" y="877822"/>
                  </a:cubicBezTo>
                  <a:cubicBezTo>
                    <a:pt x="1304925" y="883541"/>
                    <a:pt x="1301356" y="889260"/>
                    <a:pt x="1296359" y="892119"/>
                  </a:cubicBezTo>
                  <a:cubicBezTo>
                    <a:pt x="1296359" y="892119"/>
                    <a:pt x="1296359" y="892119"/>
                    <a:pt x="896601" y="1097993"/>
                  </a:cubicBezTo>
                  <a:cubicBezTo>
                    <a:pt x="894459" y="1099422"/>
                    <a:pt x="892318" y="1100137"/>
                    <a:pt x="889462" y="1100137"/>
                  </a:cubicBezTo>
                  <a:cubicBezTo>
                    <a:pt x="887321" y="1100137"/>
                    <a:pt x="885179" y="1099422"/>
                    <a:pt x="883038" y="1098708"/>
                  </a:cubicBezTo>
                  <a:cubicBezTo>
                    <a:pt x="883038" y="1098708"/>
                    <a:pt x="883038" y="1098708"/>
                    <a:pt x="471144" y="909990"/>
                  </a:cubicBezTo>
                  <a:cubicBezTo>
                    <a:pt x="469002" y="909275"/>
                    <a:pt x="466861" y="908560"/>
                    <a:pt x="464719" y="908560"/>
                  </a:cubicBezTo>
                  <a:cubicBezTo>
                    <a:pt x="462578" y="908560"/>
                    <a:pt x="460436" y="909275"/>
                    <a:pt x="459008" y="909990"/>
                  </a:cubicBezTo>
                  <a:cubicBezTo>
                    <a:pt x="459008" y="909990"/>
                    <a:pt x="459008" y="909990"/>
                    <a:pt x="21416" y="1092274"/>
                  </a:cubicBezTo>
                  <a:cubicBezTo>
                    <a:pt x="19988" y="1093704"/>
                    <a:pt x="17847" y="1093704"/>
                    <a:pt x="15705" y="1093704"/>
                  </a:cubicBezTo>
                  <a:cubicBezTo>
                    <a:pt x="7139" y="1093704"/>
                    <a:pt x="0" y="1087270"/>
                    <a:pt x="0" y="1077977"/>
                  </a:cubicBezTo>
                  <a:cubicBezTo>
                    <a:pt x="0" y="1077977"/>
                    <a:pt x="0" y="1077977"/>
                    <a:pt x="0" y="188003"/>
                  </a:cubicBezTo>
                  <a:cubicBezTo>
                    <a:pt x="0" y="181569"/>
                    <a:pt x="4283" y="175850"/>
                    <a:pt x="9994" y="172991"/>
                  </a:cubicBezTo>
                  <a:cubicBezTo>
                    <a:pt x="9994" y="172991"/>
                    <a:pt x="9994" y="172991"/>
                    <a:pt x="459722" y="1430"/>
                  </a:cubicBezTo>
                  <a:cubicBezTo>
                    <a:pt x="461150" y="715"/>
                    <a:pt x="463291" y="0"/>
                    <a:pt x="46543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09" name="Group 108">
            <a:extLst>
              <a:ext uri="{FF2B5EF4-FFF2-40B4-BE49-F238E27FC236}">
                <a16:creationId xmlns:a16="http://schemas.microsoft.com/office/drawing/2014/main" id="{E38629E6-6055-6773-5BAC-A8EB881CC588}"/>
              </a:ext>
            </a:extLst>
          </p:cNvPr>
          <p:cNvGrpSpPr/>
          <p:nvPr/>
        </p:nvGrpSpPr>
        <p:grpSpPr>
          <a:xfrm>
            <a:off x="9993672" y="2317161"/>
            <a:ext cx="273537" cy="462558"/>
            <a:chOff x="-2227342" y="5043131"/>
            <a:chExt cx="273537" cy="462558"/>
          </a:xfrm>
        </p:grpSpPr>
        <p:sp>
          <p:nvSpPr>
            <p:cNvPr id="68" name="Freeform 15">
              <a:extLst>
                <a:ext uri="{FF2B5EF4-FFF2-40B4-BE49-F238E27FC236}">
                  <a16:creationId xmlns:a16="http://schemas.microsoft.com/office/drawing/2014/main" id="{451670FE-F754-17EF-A6E2-A3568E4935FD}"/>
                </a:ext>
              </a:extLst>
            </p:cNvPr>
            <p:cNvSpPr>
              <a:spLocks noEditPoints="1"/>
            </p:cNvSpPr>
            <p:nvPr/>
          </p:nvSpPr>
          <p:spPr bwMode="auto">
            <a:xfrm>
              <a:off x="-2227342" y="5043131"/>
              <a:ext cx="273537" cy="462558"/>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522 w 1044"/>
                <a:gd name="T19" fmla="*/ 1757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410" y="1764"/>
                    <a:pt x="506" y="1758"/>
                    <a:pt x="522" y="1757"/>
                  </a:cubicBezTo>
                  <a:cubicBezTo>
                    <a:pt x="526" y="1758"/>
                    <a:pt x="535" y="1758"/>
                    <a:pt x="547" y="1758"/>
                  </a:cubicBezTo>
                  <a:cubicBezTo>
                    <a:pt x="585" y="1758"/>
                    <a:pt x="659" y="1753"/>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16">
              <a:extLst>
                <a:ext uri="{FF2B5EF4-FFF2-40B4-BE49-F238E27FC236}">
                  <a16:creationId xmlns:a16="http://schemas.microsoft.com/office/drawing/2014/main" id="{2212D25A-6562-EE48-7E48-CE3E5C5100B6}"/>
                </a:ext>
              </a:extLst>
            </p:cNvPr>
            <p:cNvSpPr>
              <a:spLocks noEditPoints="1"/>
            </p:cNvSpPr>
            <p:nvPr/>
          </p:nvSpPr>
          <p:spPr bwMode="auto">
            <a:xfrm>
              <a:off x="-2205107" y="5065371"/>
              <a:ext cx="229066" cy="297928"/>
            </a:xfrm>
            <a:custGeom>
              <a:avLst/>
              <a:gdLst>
                <a:gd name="T0" fmla="*/ 482 w 874"/>
                <a:gd name="T1" fmla="*/ 304 h 1136"/>
                <a:gd name="T2" fmla="*/ 482 w 874"/>
                <a:gd name="T3" fmla="*/ 259 h 1136"/>
                <a:gd name="T4" fmla="*/ 513 w 874"/>
                <a:gd name="T5" fmla="*/ 554 h 1136"/>
                <a:gd name="T6" fmla="*/ 513 w 874"/>
                <a:gd name="T7" fmla="*/ 599 h 1136"/>
                <a:gd name="T8" fmla="*/ 513 w 874"/>
                <a:gd name="T9" fmla="*/ 554 h 1136"/>
                <a:gd name="T10" fmla="*/ 160 w 874"/>
                <a:gd name="T11" fmla="*/ 605 h 1136"/>
                <a:gd name="T12" fmla="*/ 206 w 874"/>
                <a:gd name="T13" fmla="*/ 605 h 1136"/>
                <a:gd name="T14" fmla="*/ 328 w 874"/>
                <a:gd name="T15" fmla="*/ 699 h 1136"/>
                <a:gd name="T16" fmla="*/ 328 w 874"/>
                <a:gd name="T17" fmla="*/ 744 h 1136"/>
                <a:gd name="T18" fmla="*/ 328 w 874"/>
                <a:gd name="T19" fmla="*/ 699 h 1136"/>
                <a:gd name="T20" fmla="*/ 716 w 874"/>
                <a:gd name="T21" fmla="*/ 361 h 1136"/>
                <a:gd name="T22" fmla="*/ 761 w 874"/>
                <a:gd name="T23" fmla="*/ 361 h 1136"/>
                <a:gd name="T24" fmla="*/ 874 w 874"/>
                <a:gd name="T25" fmla="*/ 436 h 1136"/>
                <a:gd name="T26" fmla="*/ 611 w 874"/>
                <a:gd name="T27" fmla="*/ 1045 h 1136"/>
                <a:gd name="T28" fmla="*/ 263 w 874"/>
                <a:gd name="T29" fmla="*/ 1136 h 1136"/>
                <a:gd name="T30" fmla="*/ 105 w 874"/>
                <a:gd name="T31" fmla="*/ 720 h 1136"/>
                <a:gd name="T32" fmla="*/ 437 w 874"/>
                <a:gd name="T33" fmla="*/ 0 h 1136"/>
                <a:gd name="T34" fmla="*/ 250 w 874"/>
                <a:gd name="T35" fmla="*/ 605 h 1136"/>
                <a:gd name="T36" fmla="*/ 172 w 874"/>
                <a:gd name="T37" fmla="*/ 539 h 1136"/>
                <a:gd name="T38" fmla="*/ 157 w 874"/>
                <a:gd name="T39" fmla="*/ 378 h 1136"/>
                <a:gd name="T40" fmla="*/ 155 w 874"/>
                <a:gd name="T41" fmla="*/ 244 h 1136"/>
                <a:gd name="T42" fmla="*/ 115 w 874"/>
                <a:gd name="T43" fmla="*/ 364 h 1136"/>
                <a:gd name="T44" fmla="*/ 133 w 874"/>
                <a:gd name="T45" fmla="*/ 561 h 1136"/>
                <a:gd name="T46" fmla="*/ 183 w 874"/>
                <a:gd name="T47" fmla="*/ 672 h 1136"/>
                <a:gd name="T48" fmla="*/ 576 w 874"/>
                <a:gd name="T49" fmla="*/ 555 h 1136"/>
                <a:gd name="T50" fmla="*/ 667 w 874"/>
                <a:gd name="T51" fmla="*/ 409 h 1136"/>
                <a:gd name="T52" fmla="*/ 533 w 874"/>
                <a:gd name="T53" fmla="*/ 409 h 1136"/>
                <a:gd name="T54" fmla="*/ 548 w 874"/>
                <a:gd name="T55" fmla="*/ 520 h 1136"/>
                <a:gd name="T56" fmla="*/ 446 w 874"/>
                <a:gd name="T57" fmla="*/ 577 h 1136"/>
                <a:gd name="T58" fmla="*/ 580 w 874"/>
                <a:gd name="T59" fmla="*/ 577 h 1136"/>
                <a:gd name="T60" fmla="*/ 548 w 874"/>
                <a:gd name="T61" fmla="*/ 282 h 1136"/>
                <a:gd name="T62" fmla="*/ 423 w 874"/>
                <a:gd name="T63" fmla="*/ 250 h 1136"/>
                <a:gd name="T64" fmla="*/ 290 w 874"/>
                <a:gd name="T65" fmla="*/ 546 h 1136"/>
                <a:gd name="T66" fmla="*/ 351 w 874"/>
                <a:gd name="T67" fmla="*/ 639 h 1136"/>
                <a:gd name="T68" fmla="*/ 351 w 874"/>
                <a:gd name="T69" fmla="*/ 505 h 1136"/>
                <a:gd name="T70" fmla="*/ 296 w 874"/>
                <a:gd name="T71" fmla="*/ 434 h 1136"/>
                <a:gd name="T72" fmla="*/ 482 w 874"/>
                <a:gd name="T73" fmla="*/ 348 h 1136"/>
                <a:gd name="T74" fmla="*/ 770 w 874"/>
                <a:gd name="T75" fmla="*/ 588 h 1136"/>
                <a:gd name="T76" fmla="*/ 637 w 874"/>
                <a:gd name="T77" fmla="*/ 588 h 1136"/>
                <a:gd name="T78" fmla="*/ 437 w 874"/>
                <a:gd name="T79" fmla="*/ 719 h 1136"/>
                <a:gd name="T80" fmla="*/ 328 w 874"/>
                <a:gd name="T81" fmla="*/ 655 h 1136"/>
                <a:gd name="T82" fmla="*/ 328 w 874"/>
                <a:gd name="T83" fmla="*/ 788 h 1136"/>
                <a:gd name="T84" fmla="*/ 437 w 874"/>
                <a:gd name="T85" fmla="*/ 763 h 1136"/>
                <a:gd name="T86" fmla="*/ 703 w 874"/>
                <a:gd name="T87" fmla="*/ 655 h 1136"/>
                <a:gd name="T88" fmla="*/ 805 w 874"/>
                <a:gd name="T89" fmla="*/ 361 h 1136"/>
                <a:gd name="T90" fmla="*/ 736 w 874"/>
                <a:gd name="T91" fmla="*/ 295 h 1136"/>
                <a:gd name="T92" fmla="*/ 320 w 874"/>
                <a:gd name="T93" fmla="*/ 126 h 1136"/>
                <a:gd name="T94" fmla="*/ 207 w 874"/>
                <a:gd name="T95" fmla="*/ 174 h 1136"/>
                <a:gd name="T96" fmla="*/ 341 w 874"/>
                <a:gd name="T97" fmla="*/ 174 h 1136"/>
                <a:gd name="T98" fmla="*/ 437 w 874"/>
                <a:gd name="T99" fmla="*/ 148 h 1136"/>
                <a:gd name="T100" fmla="*/ 672 w 874"/>
                <a:gd name="T101" fmla="*/ 361 h 1136"/>
                <a:gd name="T102" fmla="*/ 805 w 874"/>
                <a:gd name="T103" fmla="*/ 361 h 1136"/>
                <a:gd name="T104" fmla="*/ 251 w 874"/>
                <a:gd name="T105" fmla="*/ 174 h 1136"/>
                <a:gd name="T106" fmla="*/ 297 w 874"/>
                <a:gd name="T107" fmla="*/ 17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4" h="1136">
                  <a:moveTo>
                    <a:pt x="504" y="282"/>
                  </a:moveTo>
                  <a:cubicBezTo>
                    <a:pt x="504" y="294"/>
                    <a:pt x="494" y="304"/>
                    <a:pt x="482" y="304"/>
                  </a:cubicBezTo>
                  <a:cubicBezTo>
                    <a:pt x="469" y="304"/>
                    <a:pt x="459" y="294"/>
                    <a:pt x="459" y="282"/>
                  </a:cubicBezTo>
                  <a:cubicBezTo>
                    <a:pt x="459" y="269"/>
                    <a:pt x="469" y="259"/>
                    <a:pt x="482" y="259"/>
                  </a:cubicBezTo>
                  <a:cubicBezTo>
                    <a:pt x="494" y="259"/>
                    <a:pt x="504" y="269"/>
                    <a:pt x="504" y="282"/>
                  </a:cubicBezTo>
                  <a:close/>
                  <a:moveTo>
                    <a:pt x="513" y="554"/>
                  </a:moveTo>
                  <a:cubicBezTo>
                    <a:pt x="501" y="554"/>
                    <a:pt x="490" y="564"/>
                    <a:pt x="490" y="577"/>
                  </a:cubicBezTo>
                  <a:cubicBezTo>
                    <a:pt x="490" y="589"/>
                    <a:pt x="501" y="599"/>
                    <a:pt x="513" y="599"/>
                  </a:cubicBezTo>
                  <a:cubicBezTo>
                    <a:pt x="526" y="599"/>
                    <a:pt x="536" y="589"/>
                    <a:pt x="536" y="577"/>
                  </a:cubicBezTo>
                  <a:cubicBezTo>
                    <a:pt x="536" y="564"/>
                    <a:pt x="526" y="554"/>
                    <a:pt x="513" y="554"/>
                  </a:cubicBezTo>
                  <a:close/>
                  <a:moveTo>
                    <a:pt x="183" y="582"/>
                  </a:moveTo>
                  <a:cubicBezTo>
                    <a:pt x="170" y="582"/>
                    <a:pt x="160" y="593"/>
                    <a:pt x="160" y="605"/>
                  </a:cubicBezTo>
                  <a:cubicBezTo>
                    <a:pt x="160" y="618"/>
                    <a:pt x="170" y="628"/>
                    <a:pt x="183" y="628"/>
                  </a:cubicBezTo>
                  <a:cubicBezTo>
                    <a:pt x="195" y="628"/>
                    <a:pt x="206" y="618"/>
                    <a:pt x="206" y="605"/>
                  </a:cubicBezTo>
                  <a:cubicBezTo>
                    <a:pt x="206" y="593"/>
                    <a:pt x="195" y="582"/>
                    <a:pt x="183" y="582"/>
                  </a:cubicBezTo>
                  <a:close/>
                  <a:moveTo>
                    <a:pt x="328" y="699"/>
                  </a:moveTo>
                  <a:cubicBezTo>
                    <a:pt x="316" y="699"/>
                    <a:pt x="306" y="709"/>
                    <a:pt x="306" y="722"/>
                  </a:cubicBezTo>
                  <a:cubicBezTo>
                    <a:pt x="306" y="734"/>
                    <a:pt x="316" y="744"/>
                    <a:pt x="328" y="744"/>
                  </a:cubicBezTo>
                  <a:cubicBezTo>
                    <a:pt x="341" y="744"/>
                    <a:pt x="351" y="734"/>
                    <a:pt x="351" y="722"/>
                  </a:cubicBezTo>
                  <a:cubicBezTo>
                    <a:pt x="351" y="709"/>
                    <a:pt x="341" y="699"/>
                    <a:pt x="328" y="699"/>
                  </a:cubicBezTo>
                  <a:close/>
                  <a:moveTo>
                    <a:pt x="739" y="338"/>
                  </a:moveTo>
                  <a:cubicBezTo>
                    <a:pt x="726" y="338"/>
                    <a:pt x="716" y="349"/>
                    <a:pt x="716" y="361"/>
                  </a:cubicBezTo>
                  <a:cubicBezTo>
                    <a:pt x="716" y="374"/>
                    <a:pt x="726" y="384"/>
                    <a:pt x="739" y="384"/>
                  </a:cubicBezTo>
                  <a:cubicBezTo>
                    <a:pt x="751" y="384"/>
                    <a:pt x="761" y="374"/>
                    <a:pt x="761" y="361"/>
                  </a:cubicBezTo>
                  <a:cubicBezTo>
                    <a:pt x="761" y="349"/>
                    <a:pt x="751" y="338"/>
                    <a:pt x="739" y="338"/>
                  </a:cubicBezTo>
                  <a:close/>
                  <a:moveTo>
                    <a:pt x="874" y="436"/>
                  </a:moveTo>
                  <a:cubicBezTo>
                    <a:pt x="874" y="540"/>
                    <a:pt x="837" y="641"/>
                    <a:pt x="769" y="720"/>
                  </a:cubicBezTo>
                  <a:cubicBezTo>
                    <a:pt x="747" y="741"/>
                    <a:pt x="611" y="880"/>
                    <a:pt x="611" y="1045"/>
                  </a:cubicBezTo>
                  <a:cubicBezTo>
                    <a:pt x="611" y="1136"/>
                    <a:pt x="611" y="1136"/>
                    <a:pt x="611" y="1136"/>
                  </a:cubicBezTo>
                  <a:cubicBezTo>
                    <a:pt x="263" y="1136"/>
                    <a:pt x="263" y="1136"/>
                    <a:pt x="263" y="1136"/>
                  </a:cubicBezTo>
                  <a:cubicBezTo>
                    <a:pt x="263" y="1045"/>
                    <a:pt x="263" y="1045"/>
                    <a:pt x="263" y="1045"/>
                  </a:cubicBezTo>
                  <a:cubicBezTo>
                    <a:pt x="263" y="880"/>
                    <a:pt x="127" y="741"/>
                    <a:pt x="105" y="720"/>
                  </a:cubicBezTo>
                  <a:cubicBezTo>
                    <a:pt x="37" y="641"/>
                    <a:pt x="0" y="540"/>
                    <a:pt x="0" y="436"/>
                  </a:cubicBezTo>
                  <a:cubicBezTo>
                    <a:pt x="0" y="195"/>
                    <a:pt x="196" y="0"/>
                    <a:pt x="437" y="0"/>
                  </a:cubicBezTo>
                  <a:cubicBezTo>
                    <a:pt x="678" y="0"/>
                    <a:pt x="874" y="195"/>
                    <a:pt x="874" y="436"/>
                  </a:cubicBezTo>
                  <a:close/>
                  <a:moveTo>
                    <a:pt x="250" y="605"/>
                  </a:moveTo>
                  <a:cubicBezTo>
                    <a:pt x="250" y="568"/>
                    <a:pt x="220" y="538"/>
                    <a:pt x="183" y="538"/>
                  </a:cubicBezTo>
                  <a:cubicBezTo>
                    <a:pt x="179" y="538"/>
                    <a:pt x="175" y="539"/>
                    <a:pt x="172" y="539"/>
                  </a:cubicBezTo>
                  <a:cubicBezTo>
                    <a:pt x="158" y="506"/>
                    <a:pt x="152" y="471"/>
                    <a:pt x="152" y="434"/>
                  </a:cubicBezTo>
                  <a:cubicBezTo>
                    <a:pt x="152" y="415"/>
                    <a:pt x="153" y="396"/>
                    <a:pt x="157" y="378"/>
                  </a:cubicBezTo>
                  <a:cubicBezTo>
                    <a:pt x="193" y="377"/>
                    <a:pt x="222" y="347"/>
                    <a:pt x="222" y="311"/>
                  </a:cubicBezTo>
                  <a:cubicBezTo>
                    <a:pt x="222" y="274"/>
                    <a:pt x="192" y="244"/>
                    <a:pt x="155" y="244"/>
                  </a:cubicBezTo>
                  <a:cubicBezTo>
                    <a:pt x="119" y="244"/>
                    <a:pt x="89" y="274"/>
                    <a:pt x="89" y="311"/>
                  </a:cubicBezTo>
                  <a:cubicBezTo>
                    <a:pt x="89" y="333"/>
                    <a:pt x="99" y="352"/>
                    <a:pt x="115" y="364"/>
                  </a:cubicBezTo>
                  <a:cubicBezTo>
                    <a:pt x="110" y="387"/>
                    <a:pt x="108" y="410"/>
                    <a:pt x="108" y="434"/>
                  </a:cubicBezTo>
                  <a:cubicBezTo>
                    <a:pt x="108" y="478"/>
                    <a:pt x="116" y="521"/>
                    <a:pt x="133" y="561"/>
                  </a:cubicBezTo>
                  <a:cubicBezTo>
                    <a:pt x="123" y="573"/>
                    <a:pt x="116" y="588"/>
                    <a:pt x="116" y="605"/>
                  </a:cubicBezTo>
                  <a:cubicBezTo>
                    <a:pt x="116" y="642"/>
                    <a:pt x="146" y="672"/>
                    <a:pt x="183" y="672"/>
                  </a:cubicBezTo>
                  <a:cubicBezTo>
                    <a:pt x="220" y="672"/>
                    <a:pt x="250" y="642"/>
                    <a:pt x="250" y="605"/>
                  </a:cubicBezTo>
                  <a:close/>
                  <a:moveTo>
                    <a:pt x="576" y="555"/>
                  </a:moveTo>
                  <a:cubicBezTo>
                    <a:pt x="597" y="532"/>
                    <a:pt x="611" y="503"/>
                    <a:pt x="618" y="473"/>
                  </a:cubicBezTo>
                  <a:cubicBezTo>
                    <a:pt x="646" y="465"/>
                    <a:pt x="667" y="439"/>
                    <a:pt x="667" y="409"/>
                  </a:cubicBezTo>
                  <a:cubicBezTo>
                    <a:pt x="667" y="372"/>
                    <a:pt x="637" y="342"/>
                    <a:pt x="600" y="342"/>
                  </a:cubicBezTo>
                  <a:cubicBezTo>
                    <a:pt x="563" y="342"/>
                    <a:pt x="533" y="372"/>
                    <a:pt x="533" y="409"/>
                  </a:cubicBezTo>
                  <a:cubicBezTo>
                    <a:pt x="533" y="436"/>
                    <a:pt x="550" y="459"/>
                    <a:pt x="573" y="470"/>
                  </a:cubicBezTo>
                  <a:cubicBezTo>
                    <a:pt x="568" y="488"/>
                    <a:pt x="560" y="505"/>
                    <a:pt x="548" y="520"/>
                  </a:cubicBezTo>
                  <a:cubicBezTo>
                    <a:pt x="538" y="514"/>
                    <a:pt x="526" y="510"/>
                    <a:pt x="513" y="510"/>
                  </a:cubicBezTo>
                  <a:cubicBezTo>
                    <a:pt x="476" y="510"/>
                    <a:pt x="446" y="540"/>
                    <a:pt x="446" y="577"/>
                  </a:cubicBezTo>
                  <a:cubicBezTo>
                    <a:pt x="446" y="613"/>
                    <a:pt x="476" y="643"/>
                    <a:pt x="513" y="643"/>
                  </a:cubicBezTo>
                  <a:cubicBezTo>
                    <a:pt x="550" y="643"/>
                    <a:pt x="580" y="613"/>
                    <a:pt x="580" y="577"/>
                  </a:cubicBezTo>
                  <a:cubicBezTo>
                    <a:pt x="580" y="569"/>
                    <a:pt x="579" y="562"/>
                    <a:pt x="576" y="555"/>
                  </a:cubicBezTo>
                  <a:close/>
                  <a:moveTo>
                    <a:pt x="548" y="282"/>
                  </a:moveTo>
                  <a:cubicBezTo>
                    <a:pt x="548" y="245"/>
                    <a:pt x="519" y="215"/>
                    <a:pt x="482" y="215"/>
                  </a:cubicBezTo>
                  <a:cubicBezTo>
                    <a:pt x="457" y="215"/>
                    <a:pt x="435" y="229"/>
                    <a:pt x="423" y="250"/>
                  </a:cubicBezTo>
                  <a:cubicBezTo>
                    <a:pt x="328" y="257"/>
                    <a:pt x="252" y="337"/>
                    <a:pt x="252" y="434"/>
                  </a:cubicBezTo>
                  <a:cubicBezTo>
                    <a:pt x="252" y="474"/>
                    <a:pt x="265" y="514"/>
                    <a:pt x="290" y="546"/>
                  </a:cubicBezTo>
                  <a:cubicBezTo>
                    <a:pt x="286" y="554"/>
                    <a:pt x="284" y="563"/>
                    <a:pt x="284" y="572"/>
                  </a:cubicBezTo>
                  <a:cubicBezTo>
                    <a:pt x="284" y="609"/>
                    <a:pt x="314" y="639"/>
                    <a:pt x="351" y="639"/>
                  </a:cubicBezTo>
                  <a:cubicBezTo>
                    <a:pt x="388" y="639"/>
                    <a:pt x="418" y="609"/>
                    <a:pt x="418" y="572"/>
                  </a:cubicBezTo>
                  <a:cubicBezTo>
                    <a:pt x="418" y="535"/>
                    <a:pt x="388" y="505"/>
                    <a:pt x="351" y="505"/>
                  </a:cubicBezTo>
                  <a:cubicBezTo>
                    <a:pt x="340" y="505"/>
                    <a:pt x="330" y="508"/>
                    <a:pt x="320" y="513"/>
                  </a:cubicBezTo>
                  <a:cubicBezTo>
                    <a:pt x="305" y="490"/>
                    <a:pt x="296" y="462"/>
                    <a:pt x="296" y="434"/>
                  </a:cubicBezTo>
                  <a:cubicBezTo>
                    <a:pt x="296" y="363"/>
                    <a:pt x="348" y="305"/>
                    <a:pt x="416" y="295"/>
                  </a:cubicBezTo>
                  <a:cubicBezTo>
                    <a:pt x="422" y="325"/>
                    <a:pt x="449" y="348"/>
                    <a:pt x="482" y="348"/>
                  </a:cubicBezTo>
                  <a:cubicBezTo>
                    <a:pt x="519" y="348"/>
                    <a:pt x="548" y="318"/>
                    <a:pt x="548" y="282"/>
                  </a:cubicBezTo>
                  <a:close/>
                  <a:moveTo>
                    <a:pt x="770" y="588"/>
                  </a:moveTo>
                  <a:cubicBezTo>
                    <a:pt x="770" y="551"/>
                    <a:pt x="740" y="521"/>
                    <a:pt x="703" y="521"/>
                  </a:cubicBezTo>
                  <a:cubicBezTo>
                    <a:pt x="667" y="521"/>
                    <a:pt x="637" y="551"/>
                    <a:pt x="637" y="588"/>
                  </a:cubicBezTo>
                  <a:cubicBezTo>
                    <a:pt x="637" y="602"/>
                    <a:pt x="641" y="615"/>
                    <a:pt x="648" y="626"/>
                  </a:cubicBezTo>
                  <a:cubicBezTo>
                    <a:pt x="594" y="685"/>
                    <a:pt x="518" y="719"/>
                    <a:pt x="437" y="719"/>
                  </a:cubicBezTo>
                  <a:cubicBezTo>
                    <a:pt x="423" y="719"/>
                    <a:pt x="409" y="718"/>
                    <a:pt x="395" y="716"/>
                  </a:cubicBezTo>
                  <a:cubicBezTo>
                    <a:pt x="392" y="682"/>
                    <a:pt x="363" y="655"/>
                    <a:pt x="328" y="655"/>
                  </a:cubicBezTo>
                  <a:cubicBezTo>
                    <a:pt x="292" y="655"/>
                    <a:pt x="262" y="685"/>
                    <a:pt x="262" y="722"/>
                  </a:cubicBezTo>
                  <a:cubicBezTo>
                    <a:pt x="262" y="759"/>
                    <a:pt x="292" y="788"/>
                    <a:pt x="328" y="788"/>
                  </a:cubicBezTo>
                  <a:cubicBezTo>
                    <a:pt x="351" y="788"/>
                    <a:pt x="372" y="777"/>
                    <a:pt x="384" y="759"/>
                  </a:cubicBezTo>
                  <a:cubicBezTo>
                    <a:pt x="401" y="762"/>
                    <a:pt x="419" y="763"/>
                    <a:pt x="437" y="763"/>
                  </a:cubicBezTo>
                  <a:cubicBezTo>
                    <a:pt x="532" y="763"/>
                    <a:pt x="622" y="723"/>
                    <a:pt x="684" y="652"/>
                  </a:cubicBezTo>
                  <a:cubicBezTo>
                    <a:pt x="690" y="654"/>
                    <a:pt x="697" y="655"/>
                    <a:pt x="703" y="655"/>
                  </a:cubicBezTo>
                  <a:cubicBezTo>
                    <a:pt x="740" y="655"/>
                    <a:pt x="770" y="625"/>
                    <a:pt x="770" y="588"/>
                  </a:cubicBezTo>
                  <a:close/>
                  <a:moveTo>
                    <a:pt x="805" y="361"/>
                  </a:moveTo>
                  <a:cubicBezTo>
                    <a:pt x="805" y="324"/>
                    <a:pt x="776" y="294"/>
                    <a:pt x="739" y="294"/>
                  </a:cubicBezTo>
                  <a:cubicBezTo>
                    <a:pt x="738" y="294"/>
                    <a:pt x="737" y="295"/>
                    <a:pt x="736" y="295"/>
                  </a:cubicBezTo>
                  <a:cubicBezTo>
                    <a:pt x="682" y="178"/>
                    <a:pt x="566" y="104"/>
                    <a:pt x="437" y="104"/>
                  </a:cubicBezTo>
                  <a:cubicBezTo>
                    <a:pt x="396" y="104"/>
                    <a:pt x="357" y="112"/>
                    <a:pt x="320" y="126"/>
                  </a:cubicBezTo>
                  <a:cubicBezTo>
                    <a:pt x="308" y="115"/>
                    <a:pt x="292" y="108"/>
                    <a:pt x="274" y="108"/>
                  </a:cubicBezTo>
                  <a:cubicBezTo>
                    <a:pt x="237" y="108"/>
                    <a:pt x="207" y="138"/>
                    <a:pt x="207" y="174"/>
                  </a:cubicBezTo>
                  <a:cubicBezTo>
                    <a:pt x="207" y="211"/>
                    <a:pt x="237" y="241"/>
                    <a:pt x="274" y="241"/>
                  </a:cubicBezTo>
                  <a:cubicBezTo>
                    <a:pt x="311" y="241"/>
                    <a:pt x="341" y="211"/>
                    <a:pt x="341" y="174"/>
                  </a:cubicBezTo>
                  <a:cubicBezTo>
                    <a:pt x="341" y="171"/>
                    <a:pt x="341" y="168"/>
                    <a:pt x="340" y="165"/>
                  </a:cubicBezTo>
                  <a:cubicBezTo>
                    <a:pt x="371" y="154"/>
                    <a:pt x="404" y="148"/>
                    <a:pt x="437" y="148"/>
                  </a:cubicBezTo>
                  <a:cubicBezTo>
                    <a:pt x="548" y="148"/>
                    <a:pt x="648" y="212"/>
                    <a:pt x="695" y="311"/>
                  </a:cubicBezTo>
                  <a:cubicBezTo>
                    <a:pt x="681" y="323"/>
                    <a:pt x="672" y="341"/>
                    <a:pt x="672" y="361"/>
                  </a:cubicBezTo>
                  <a:cubicBezTo>
                    <a:pt x="672" y="398"/>
                    <a:pt x="702" y="428"/>
                    <a:pt x="739" y="428"/>
                  </a:cubicBezTo>
                  <a:cubicBezTo>
                    <a:pt x="776" y="428"/>
                    <a:pt x="805" y="398"/>
                    <a:pt x="805" y="361"/>
                  </a:cubicBezTo>
                  <a:close/>
                  <a:moveTo>
                    <a:pt x="274" y="152"/>
                  </a:moveTo>
                  <a:cubicBezTo>
                    <a:pt x="262" y="152"/>
                    <a:pt x="251" y="162"/>
                    <a:pt x="251" y="174"/>
                  </a:cubicBezTo>
                  <a:cubicBezTo>
                    <a:pt x="251" y="187"/>
                    <a:pt x="262" y="197"/>
                    <a:pt x="274" y="197"/>
                  </a:cubicBezTo>
                  <a:cubicBezTo>
                    <a:pt x="287" y="197"/>
                    <a:pt x="297" y="187"/>
                    <a:pt x="297" y="174"/>
                  </a:cubicBezTo>
                  <a:cubicBezTo>
                    <a:pt x="297" y="162"/>
                    <a:pt x="287" y="152"/>
                    <a:pt x="274" y="1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04" name="Group 103">
            <a:extLst>
              <a:ext uri="{FF2B5EF4-FFF2-40B4-BE49-F238E27FC236}">
                <a16:creationId xmlns:a16="http://schemas.microsoft.com/office/drawing/2014/main" id="{B1B129A2-715D-8DDF-51F9-E03E601AE02C}"/>
              </a:ext>
            </a:extLst>
          </p:cNvPr>
          <p:cNvGrpSpPr/>
          <p:nvPr/>
        </p:nvGrpSpPr>
        <p:grpSpPr>
          <a:xfrm>
            <a:off x="9083940" y="3911180"/>
            <a:ext cx="641299" cy="257019"/>
            <a:chOff x="-951980" y="2108362"/>
            <a:chExt cx="641299" cy="257019"/>
          </a:xfrm>
        </p:grpSpPr>
        <p:sp>
          <p:nvSpPr>
            <p:cNvPr id="73" name="Freeform 10">
              <a:extLst>
                <a:ext uri="{FF2B5EF4-FFF2-40B4-BE49-F238E27FC236}">
                  <a16:creationId xmlns:a16="http://schemas.microsoft.com/office/drawing/2014/main" id="{773A8AAC-B7B4-ACFB-3245-CF35084E6795}"/>
                </a:ext>
              </a:extLst>
            </p:cNvPr>
            <p:cNvSpPr>
              <a:spLocks/>
            </p:cNvSpPr>
            <p:nvPr/>
          </p:nvSpPr>
          <p:spPr bwMode="auto">
            <a:xfrm>
              <a:off x="-951980" y="2108362"/>
              <a:ext cx="641299" cy="227133"/>
            </a:xfrm>
            <a:custGeom>
              <a:avLst/>
              <a:gdLst>
                <a:gd name="connsiteX0" fmla="*/ 1246187 w 1533525"/>
                <a:gd name="connsiteY0" fmla="*/ 511175 h 542925"/>
                <a:gd name="connsiteX1" fmla="*/ 1517878 w 1533525"/>
                <a:gd name="connsiteY1" fmla="*/ 511175 h 542925"/>
                <a:gd name="connsiteX2" fmla="*/ 1533525 w 1533525"/>
                <a:gd name="connsiteY2" fmla="*/ 527050 h 542925"/>
                <a:gd name="connsiteX3" fmla="*/ 1517878 w 1533525"/>
                <a:gd name="connsiteY3" fmla="*/ 542925 h 542925"/>
                <a:gd name="connsiteX4" fmla="*/ 1255433 w 1533525"/>
                <a:gd name="connsiteY4" fmla="*/ 542925 h 542925"/>
                <a:gd name="connsiteX5" fmla="*/ 1246187 w 1533525"/>
                <a:gd name="connsiteY5" fmla="*/ 511175 h 542925"/>
                <a:gd name="connsiteX6" fmla="*/ 735012 w 1533525"/>
                <a:gd name="connsiteY6" fmla="*/ 511175 h 542925"/>
                <a:gd name="connsiteX7" fmla="*/ 792162 w 1533525"/>
                <a:gd name="connsiteY7" fmla="*/ 511175 h 542925"/>
                <a:gd name="connsiteX8" fmla="*/ 783101 w 1533525"/>
                <a:gd name="connsiteY8" fmla="*/ 542925 h 542925"/>
                <a:gd name="connsiteX9" fmla="*/ 744072 w 1533525"/>
                <a:gd name="connsiteY9" fmla="*/ 542925 h 542925"/>
                <a:gd name="connsiteX10" fmla="*/ 735012 w 1533525"/>
                <a:gd name="connsiteY10" fmla="*/ 511175 h 542925"/>
                <a:gd name="connsiteX11" fmla="*/ 15650 w 1533525"/>
                <a:gd name="connsiteY11" fmla="*/ 511175 h 542925"/>
                <a:gd name="connsiteX12" fmla="*/ 280988 w 1533525"/>
                <a:gd name="connsiteY12" fmla="*/ 511175 h 542925"/>
                <a:gd name="connsiteX13" fmla="*/ 271740 w 1533525"/>
                <a:gd name="connsiteY13" fmla="*/ 542925 h 542925"/>
                <a:gd name="connsiteX14" fmla="*/ 15650 w 1533525"/>
                <a:gd name="connsiteY14" fmla="*/ 542925 h 542925"/>
                <a:gd name="connsiteX15" fmla="*/ 0 w 1533525"/>
                <a:gd name="connsiteY15" fmla="*/ 527050 h 542925"/>
                <a:gd name="connsiteX16" fmla="*/ 15650 w 1533525"/>
                <a:gd name="connsiteY16" fmla="*/ 511175 h 542925"/>
                <a:gd name="connsiteX17" fmla="*/ 764317 w 1533525"/>
                <a:gd name="connsiteY17" fmla="*/ 349250 h 542925"/>
                <a:gd name="connsiteX18" fmla="*/ 778175 w 1533525"/>
                <a:gd name="connsiteY18" fmla="*/ 350679 h 542925"/>
                <a:gd name="connsiteX19" fmla="*/ 788387 w 1533525"/>
                <a:gd name="connsiteY19" fmla="*/ 352822 h 542925"/>
                <a:gd name="connsiteX20" fmla="*/ 789845 w 1533525"/>
                <a:gd name="connsiteY20" fmla="*/ 355680 h 542925"/>
                <a:gd name="connsiteX21" fmla="*/ 773799 w 1533525"/>
                <a:gd name="connsiteY21" fmla="*/ 380683 h 542925"/>
                <a:gd name="connsiteX22" fmla="*/ 773799 w 1533525"/>
                <a:gd name="connsiteY22" fmla="*/ 382826 h 542925"/>
                <a:gd name="connsiteX23" fmla="*/ 789116 w 1533525"/>
                <a:gd name="connsiteY23" fmla="*/ 477838 h 542925"/>
                <a:gd name="connsiteX24" fmla="*/ 736600 w 1533525"/>
                <a:gd name="connsiteY24" fmla="*/ 477838 h 542925"/>
                <a:gd name="connsiteX25" fmla="*/ 753376 w 1533525"/>
                <a:gd name="connsiteY25" fmla="*/ 382826 h 542925"/>
                <a:gd name="connsiteX26" fmla="*/ 753376 w 1533525"/>
                <a:gd name="connsiteY26" fmla="*/ 380683 h 542925"/>
                <a:gd name="connsiteX27" fmla="*/ 737329 w 1533525"/>
                <a:gd name="connsiteY27" fmla="*/ 355680 h 542925"/>
                <a:gd name="connsiteX28" fmla="*/ 738788 w 1533525"/>
                <a:gd name="connsiteY28" fmla="*/ 352822 h 542925"/>
                <a:gd name="connsiteX29" fmla="*/ 749729 w 1533525"/>
                <a:gd name="connsiteY29" fmla="*/ 350679 h 542925"/>
                <a:gd name="connsiteX30" fmla="*/ 764317 w 1533525"/>
                <a:gd name="connsiteY30" fmla="*/ 349250 h 542925"/>
                <a:gd name="connsiteX31" fmla="*/ 1200963 w 1533525"/>
                <a:gd name="connsiteY31" fmla="*/ 334962 h 542925"/>
                <a:gd name="connsiteX32" fmla="*/ 1203105 w 1533525"/>
                <a:gd name="connsiteY32" fmla="*/ 337095 h 542925"/>
                <a:gd name="connsiteX33" fmla="*/ 1268787 w 1533525"/>
                <a:gd name="connsiteY33" fmla="*/ 409598 h 542925"/>
                <a:gd name="connsiteX34" fmla="*/ 1280210 w 1533525"/>
                <a:gd name="connsiteY34" fmla="*/ 409598 h 542925"/>
                <a:gd name="connsiteX35" fmla="*/ 1345893 w 1533525"/>
                <a:gd name="connsiteY35" fmla="*/ 337095 h 542925"/>
                <a:gd name="connsiteX36" fmla="*/ 1348034 w 1533525"/>
                <a:gd name="connsiteY36" fmla="*/ 334962 h 542925"/>
                <a:gd name="connsiteX37" fmla="*/ 1441561 w 1533525"/>
                <a:gd name="connsiteY37" fmla="*/ 351311 h 542925"/>
                <a:gd name="connsiteX38" fmla="*/ 1492250 w 1533525"/>
                <a:gd name="connsiteY38" fmla="*/ 477837 h 542925"/>
                <a:gd name="connsiteX39" fmla="*/ 1232376 w 1533525"/>
                <a:gd name="connsiteY39" fmla="*/ 477837 h 542925"/>
                <a:gd name="connsiteX40" fmla="*/ 1198821 w 1533525"/>
                <a:gd name="connsiteY40" fmla="*/ 440164 h 542925"/>
                <a:gd name="connsiteX41" fmla="*/ 1101725 w 1533525"/>
                <a:gd name="connsiteY41" fmla="*/ 421682 h 542925"/>
                <a:gd name="connsiteX42" fmla="*/ 1111720 w 1533525"/>
                <a:gd name="connsiteY42" fmla="*/ 409598 h 542925"/>
                <a:gd name="connsiteX43" fmla="*/ 1112434 w 1533525"/>
                <a:gd name="connsiteY43" fmla="*/ 408177 h 542925"/>
                <a:gd name="connsiteX44" fmla="*/ 1118859 w 1533525"/>
                <a:gd name="connsiteY44" fmla="*/ 394671 h 542925"/>
                <a:gd name="connsiteX45" fmla="*/ 1120287 w 1533525"/>
                <a:gd name="connsiteY45" fmla="*/ 390406 h 542925"/>
                <a:gd name="connsiteX46" fmla="*/ 1155271 w 1533525"/>
                <a:gd name="connsiteY46" fmla="*/ 338516 h 542925"/>
                <a:gd name="connsiteX47" fmla="*/ 1200963 w 1533525"/>
                <a:gd name="connsiteY47" fmla="*/ 334962 h 542925"/>
                <a:gd name="connsiteX48" fmla="*/ 837524 w 1533525"/>
                <a:gd name="connsiteY48" fmla="*/ 334962 h 542925"/>
                <a:gd name="connsiteX49" fmla="*/ 883153 w 1533525"/>
                <a:gd name="connsiteY49" fmla="*/ 338545 h 542925"/>
                <a:gd name="connsiteX50" fmla="*/ 917375 w 1533525"/>
                <a:gd name="connsiteY50" fmla="*/ 389427 h 542925"/>
                <a:gd name="connsiteX51" fmla="*/ 919514 w 1533525"/>
                <a:gd name="connsiteY51" fmla="*/ 395160 h 542925"/>
                <a:gd name="connsiteX52" fmla="*/ 928069 w 1533525"/>
                <a:gd name="connsiteY52" fmla="*/ 412360 h 542925"/>
                <a:gd name="connsiteX53" fmla="*/ 936625 w 1533525"/>
                <a:gd name="connsiteY53" fmla="*/ 422393 h 542925"/>
                <a:gd name="connsiteX54" fmla="*/ 839663 w 1533525"/>
                <a:gd name="connsiteY54" fmla="*/ 441026 h 542925"/>
                <a:gd name="connsiteX55" fmla="*/ 817562 w 1533525"/>
                <a:gd name="connsiteY55" fmla="*/ 460375 h 542925"/>
                <a:gd name="connsiteX56" fmla="*/ 835386 w 1533525"/>
                <a:gd name="connsiteY56" fmla="*/ 337112 h 542925"/>
                <a:gd name="connsiteX57" fmla="*/ 837524 w 1533525"/>
                <a:gd name="connsiteY57" fmla="*/ 334962 h 542925"/>
                <a:gd name="connsiteX58" fmla="*/ 689650 w 1533525"/>
                <a:gd name="connsiteY58" fmla="*/ 334962 h 542925"/>
                <a:gd name="connsiteX59" fmla="*/ 691789 w 1533525"/>
                <a:gd name="connsiteY59" fmla="*/ 337112 h 542925"/>
                <a:gd name="connsiteX60" fmla="*/ 709613 w 1533525"/>
                <a:gd name="connsiteY60" fmla="*/ 460375 h 542925"/>
                <a:gd name="connsiteX61" fmla="*/ 687511 w 1533525"/>
                <a:gd name="connsiteY61" fmla="*/ 441026 h 542925"/>
                <a:gd name="connsiteX62" fmla="*/ 590550 w 1533525"/>
                <a:gd name="connsiteY62" fmla="*/ 422393 h 542925"/>
                <a:gd name="connsiteX63" fmla="*/ 600531 w 1533525"/>
                <a:gd name="connsiteY63" fmla="*/ 410210 h 542925"/>
                <a:gd name="connsiteX64" fmla="*/ 601244 w 1533525"/>
                <a:gd name="connsiteY64" fmla="*/ 408777 h 542925"/>
                <a:gd name="connsiteX65" fmla="*/ 607661 w 1533525"/>
                <a:gd name="connsiteY65" fmla="*/ 395160 h 542925"/>
                <a:gd name="connsiteX66" fmla="*/ 609087 w 1533525"/>
                <a:gd name="connsiteY66" fmla="*/ 390860 h 542925"/>
                <a:gd name="connsiteX67" fmla="*/ 644021 w 1533525"/>
                <a:gd name="connsiteY67" fmla="*/ 338545 h 542925"/>
                <a:gd name="connsiteX68" fmla="*/ 689650 w 1533525"/>
                <a:gd name="connsiteY68" fmla="*/ 334962 h 542925"/>
                <a:gd name="connsiteX69" fmla="*/ 180120 w 1533525"/>
                <a:gd name="connsiteY69" fmla="*/ 334962 h 542925"/>
                <a:gd name="connsiteX70" fmla="*/ 252360 w 1533525"/>
                <a:gd name="connsiteY70" fmla="*/ 369082 h 542925"/>
                <a:gd name="connsiteX71" fmla="*/ 323885 w 1533525"/>
                <a:gd name="connsiteY71" fmla="*/ 334962 h 542925"/>
                <a:gd name="connsiteX72" fmla="*/ 371806 w 1533525"/>
                <a:gd name="connsiteY72" fmla="*/ 338516 h 542925"/>
                <a:gd name="connsiteX73" fmla="*/ 406138 w 1533525"/>
                <a:gd name="connsiteY73" fmla="*/ 388985 h 542925"/>
                <a:gd name="connsiteX74" fmla="*/ 408284 w 1533525"/>
                <a:gd name="connsiteY74" fmla="*/ 394671 h 542925"/>
                <a:gd name="connsiteX75" fmla="*/ 416867 w 1533525"/>
                <a:gd name="connsiteY75" fmla="*/ 411731 h 542925"/>
                <a:gd name="connsiteX76" fmla="*/ 425450 w 1533525"/>
                <a:gd name="connsiteY76" fmla="*/ 421682 h 542925"/>
                <a:gd name="connsiteX77" fmla="*/ 328176 w 1533525"/>
                <a:gd name="connsiteY77" fmla="*/ 440164 h 542925"/>
                <a:gd name="connsiteX78" fmla="*/ 294560 w 1533525"/>
                <a:gd name="connsiteY78" fmla="*/ 477837 h 542925"/>
                <a:gd name="connsiteX79" fmla="*/ 34925 w 1533525"/>
                <a:gd name="connsiteY79" fmla="*/ 477837 h 542925"/>
                <a:gd name="connsiteX80" fmla="*/ 84992 w 1533525"/>
                <a:gd name="connsiteY80" fmla="*/ 351311 h 542925"/>
                <a:gd name="connsiteX81" fmla="*/ 180120 w 1533525"/>
                <a:gd name="connsiteY81" fmla="*/ 334962 h 542925"/>
                <a:gd name="connsiteX82" fmla="*/ 1381410 w 1533525"/>
                <a:gd name="connsiteY82" fmla="*/ 215900 h 542925"/>
                <a:gd name="connsiteX83" fmla="*/ 1414463 w 1533525"/>
                <a:gd name="connsiteY83" fmla="*/ 298275 h 542925"/>
                <a:gd name="connsiteX84" fmla="*/ 1376380 w 1533525"/>
                <a:gd name="connsiteY84" fmla="*/ 320675 h 542925"/>
                <a:gd name="connsiteX85" fmla="*/ 1349074 w 1533525"/>
                <a:gd name="connsiteY85" fmla="*/ 319230 h 542925"/>
                <a:gd name="connsiteX86" fmla="*/ 1346200 w 1533525"/>
                <a:gd name="connsiteY86" fmla="*/ 317785 h 542925"/>
                <a:gd name="connsiteX87" fmla="*/ 1346200 w 1533525"/>
                <a:gd name="connsiteY87" fmla="*/ 293939 h 542925"/>
                <a:gd name="connsiteX88" fmla="*/ 1381410 w 1533525"/>
                <a:gd name="connsiteY88" fmla="*/ 215900 h 542925"/>
                <a:gd name="connsiteX89" fmla="*/ 1167890 w 1533525"/>
                <a:gd name="connsiteY89" fmla="*/ 215900 h 542925"/>
                <a:gd name="connsiteX90" fmla="*/ 1203325 w 1533525"/>
                <a:gd name="connsiteY90" fmla="*/ 293939 h 542925"/>
                <a:gd name="connsiteX91" fmla="*/ 1203325 w 1533525"/>
                <a:gd name="connsiteY91" fmla="*/ 317785 h 542925"/>
                <a:gd name="connsiteX92" fmla="*/ 1200490 w 1533525"/>
                <a:gd name="connsiteY92" fmla="*/ 319230 h 542925"/>
                <a:gd name="connsiteX93" fmla="*/ 1173559 w 1533525"/>
                <a:gd name="connsiteY93" fmla="*/ 320675 h 542925"/>
                <a:gd name="connsiteX94" fmla="*/ 1163637 w 1533525"/>
                <a:gd name="connsiteY94" fmla="*/ 317785 h 542925"/>
                <a:gd name="connsiteX95" fmla="*/ 1171433 w 1533525"/>
                <a:gd name="connsiteY95" fmla="*/ 278765 h 542925"/>
                <a:gd name="connsiteX96" fmla="*/ 1165055 w 1533525"/>
                <a:gd name="connsiteY96" fmla="*/ 233242 h 542925"/>
                <a:gd name="connsiteX97" fmla="*/ 1167890 w 1533525"/>
                <a:gd name="connsiteY97" fmla="*/ 215900 h 542925"/>
                <a:gd name="connsiteX98" fmla="*/ 1275200 w 1533525"/>
                <a:gd name="connsiteY98" fmla="*/ 0 h 542925"/>
                <a:gd name="connsiteX99" fmla="*/ 1397875 w 1533525"/>
                <a:gd name="connsiteY99" fmla="*/ 124537 h 542925"/>
                <a:gd name="connsiteX100" fmla="*/ 1393596 w 1533525"/>
                <a:gd name="connsiteY100" fmla="*/ 166524 h 542925"/>
                <a:gd name="connsiteX101" fmla="*/ 1393596 w 1533525"/>
                <a:gd name="connsiteY101" fmla="*/ 165812 h 542925"/>
                <a:gd name="connsiteX102" fmla="*/ 1380044 w 1533525"/>
                <a:gd name="connsiteY102" fmla="*/ 185026 h 542925"/>
                <a:gd name="connsiteX103" fmla="*/ 1378618 w 1533525"/>
                <a:gd name="connsiteY103" fmla="*/ 185738 h 542925"/>
                <a:gd name="connsiteX104" fmla="*/ 1370772 w 1533525"/>
                <a:gd name="connsiteY104" fmla="*/ 185738 h 542925"/>
                <a:gd name="connsiteX105" fmla="*/ 1370059 w 1533525"/>
                <a:gd name="connsiteY105" fmla="*/ 185026 h 542925"/>
                <a:gd name="connsiteX106" fmla="*/ 1208870 w 1533525"/>
                <a:gd name="connsiteY106" fmla="*/ 100341 h 542925"/>
                <a:gd name="connsiteX107" fmla="*/ 1207444 w 1533525"/>
                <a:gd name="connsiteY107" fmla="*/ 99630 h 542925"/>
                <a:gd name="connsiteX108" fmla="*/ 1159658 w 1533525"/>
                <a:gd name="connsiteY108" fmla="*/ 175064 h 542925"/>
                <a:gd name="connsiteX109" fmla="*/ 1152525 w 1533525"/>
                <a:gd name="connsiteY109" fmla="*/ 124537 h 542925"/>
                <a:gd name="connsiteX110" fmla="*/ 1275200 w 1533525"/>
                <a:gd name="connsiteY110" fmla="*/ 0 h 542925"/>
                <a:gd name="connsiteX111" fmla="*/ 763587 w 1533525"/>
                <a:gd name="connsiteY111" fmla="*/ 0 h 542925"/>
                <a:gd name="connsiteX112" fmla="*/ 884237 w 1533525"/>
                <a:gd name="connsiteY112" fmla="*/ 123004 h 542925"/>
                <a:gd name="connsiteX113" fmla="*/ 879953 w 1533525"/>
                <a:gd name="connsiteY113" fmla="*/ 164953 h 542925"/>
                <a:gd name="connsiteX114" fmla="*/ 866389 w 1533525"/>
                <a:gd name="connsiteY114" fmla="*/ 184150 h 542925"/>
                <a:gd name="connsiteX115" fmla="*/ 857108 w 1533525"/>
                <a:gd name="connsiteY115" fmla="*/ 184150 h 542925"/>
                <a:gd name="connsiteX116" fmla="*/ 856394 w 1533525"/>
                <a:gd name="connsiteY116" fmla="*/ 93142 h 542925"/>
                <a:gd name="connsiteX117" fmla="*/ 697194 w 1533525"/>
                <a:gd name="connsiteY117" fmla="*/ 98830 h 542925"/>
                <a:gd name="connsiteX118" fmla="*/ 667923 w 1533525"/>
                <a:gd name="connsiteY118" fmla="*/ 182017 h 542925"/>
                <a:gd name="connsiteX119" fmla="*/ 660070 w 1533525"/>
                <a:gd name="connsiteY119" fmla="*/ 181306 h 542925"/>
                <a:gd name="connsiteX120" fmla="*/ 647934 w 1533525"/>
                <a:gd name="connsiteY120" fmla="*/ 166375 h 542925"/>
                <a:gd name="connsiteX121" fmla="*/ 642937 w 1533525"/>
                <a:gd name="connsiteY121" fmla="*/ 123004 h 542925"/>
                <a:gd name="connsiteX122" fmla="*/ 763587 w 1533525"/>
                <a:gd name="connsiteY122" fmla="*/ 0 h 542925"/>
                <a:gd name="connsiteX123" fmla="*/ 252412 w 1533525"/>
                <a:gd name="connsiteY123" fmla="*/ 0 h 542925"/>
                <a:gd name="connsiteX124" fmla="*/ 373062 w 1533525"/>
                <a:gd name="connsiteY124" fmla="*/ 123004 h 542925"/>
                <a:gd name="connsiteX125" fmla="*/ 368778 w 1533525"/>
                <a:gd name="connsiteY125" fmla="*/ 164953 h 542925"/>
                <a:gd name="connsiteX126" fmla="*/ 368064 w 1533525"/>
                <a:gd name="connsiteY126" fmla="*/ 164953 h 542925"/>
                <a:gd name="connsiteX127" fmla="*/ 354500 w 1533525"/>
                <a:gd name="connsiteY127" fmla="*/ 184150 h 542925"/>
                <a:gd name="connsiteX128" fmla="*/ 345933 w 1533525"/>
                <a:gd name="connsiteY128" fmla="*/ 184150 h 542925"/>
                <a:gd name="connsiteX129" fmla="*/ 344506 w 1533525"/>
                <a:gd name="connsiteY129" fmla="*/ 93142 h 542925"/>
                <a:gd name="connsiteX130" fmla="*/ 186019 w 1533525"/>
                <a:gd name="connsiteY130" fmla="*/ 98830 h 542925"/>
                <a:gd name="connsiteX131" fmla="*/ 156748 w 1533525"/>
                <a:gd name="connsiteY131" fmla="*/ 182017 h 542925"/>
                <a:gd name="connsiteX132" fmla="*/ 148182 w 1533525"/>
                <a:gd name="connsiteY132" fmla="*/ 181306 h 542925"/>
                <a:gd name="connsiteX133" fmla="*/ 136759 w 1533525"/>
                <a:gd name="connsiteY133" fmla="*/ 166375 h 542925"/>
                <a:gd name="connsiteX134" fmla="*/ 131762 w 1533525"/>
                <a:gd name="connsiteY134" fmla="*/ 123004 h 542925"/>
                <a:gd name="connsiteX135" fmla="*/ 252412 w 1533525"/>
                <a:gd name="connsiteY135" fmla="*/ 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533525" h="542925">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4" name="Freeform 11">
              <a:extLst>
                <a:ext uri="{FF2B5EF4-FFF2-40B4-BE49-F238E27FC236}">
                  <a16:creationId xmlns:a16="http://schemas.microsoft.com/office/drawing/2014/main" id="{87E710A5-C86B-774D-DC89-20E0AB7CD0C5}"/>
                </a:ext>
              </a:extLst>
            </p:cNvPr>
            <p:cNvSpPr>
              <a:spLocks/>
            </p:cNvSpPr>
            <p:nvPr/>
          </p:nvSpPr>
          <p:spPr bwMode="auto">
            <a:xfrm>
              <a:off x="-831578" y="2173447"/>
              <a:ext cx="397839" cy="191934"/>
            </a:xfrm>
            <a:custGeom>
              <a:avLst/>
              <a:gdLst>
                <a:gd name="connsiteX0" fmla="*/ 660078 w 951344"/>
                <a:gd name="connsiteY0" fmla="*/ 296862 h 458787"/>
                <a:gd name="connsiteX1" fmla="*/ 691398 w 951344"/>
                <a:gd name="connsiteY1" fmla="*/ 313982 h 458787"/>
                <a:gd name="connsiteX2" fmla="*/ 709193 w 951344"/>
                <a:gd name="connsiteY2" fmla="*/ 318262 h 458787"/>
                <a:gd name="connsiteX3" fmla="*/ 731260 w 951344"/>
                <a:gd name="connsiteY3" fmla="*/ 319689 h 458787"/>
                <a:gd name="connsiteX4" fmla="*/ 753326 w 951344"/>
                <a:gd name="connsiteY4" fmla="*/ 318262 h 458787"/>
                <a:gd name="connsiteX5" fmla="*/ 771121 w 951344"/>
                <a:gd name="connsiteY5" fmla="*/ 313982 h 458787"/>
                <a:gd name="connsiteX6" fmla="*/ 803153 w 951344"/>
                <a:gd name="connsiteY6" fmla="*/ 296862 h 458787"/>
                <a:gd name="connsiteX7" fmla="*/ 897824 w 951344"/>
                <a:gd name="connsiteY7" fmla="*/ 313269 h 458787"/>
                <a:gd name="connsiteX8" fmla="*/ 907790 w 951344"/>
                <a:gd name="connsiteY8" fmla="*/ 322542 h 458787"/>
                <a:gd name="connsiteX9" fmla="*/ 916332 w 951344"/>
                <a:gd name="connsiteY9" fmla="*/ 337522 h 458787"/>
                <a:gd name="connsiteX10" fmla="*/ 923450 w 951344"/>
                <a:gd name="connsiteY10" fmla="*/ 353928 h 458787"/>
                <a:gd name="connsiteX11" fmla="*/ 923450 w 951344"/>
                <a:gd name="connsiteY11" fmla="*/ 355355 h 458787"/>
                <a:gd name="connsiteX12" fmla="*/ 934127 w 951344"/>
                <a:gd name="connsiteY12" fmla="*/ 386741 h 458787"/>
                <a:gd name="connsiteX13" fmla="*/ 951210 w 951344"/>
                <a:gd name="connsiteY13" fmla="*/ 451654 h 458787"/>
                <a:gd name="connsiteX14" fmla="*/ 945516 w 951344"/>
                <a:gd name="connsiteY14" fmla="*/ 458787 h 458787"/>
                <a:gd name="connsiteX15" fmla="*/ 517004 w 951344"/>
                <a:gd name="connsiteY15" fmla="*/ 458787 h 458787"/>
                <a:gd name="connsiteX16" fmla="*/ 512021 w 951344"/>
                <a:gd name="connsiteY16" fmla="*/ 451654 h 458787"/>
                <a:gd name="connsiteX17" fmla="*/ 529104 w 951344"/>
                <a:gd name="connsiteY17" fmla="*/ 386741 h 458787"/>
                <a:gd name="connsiteX18" fmla="*/ 539070 w 951344"/>
                <a:gd name="connsiteY18" fmla="*/ 355355 h 458787"/>
                <a:gd name="connsiteX19" fmla="*/ 539782 w 951344"/>
                <a:gd name="connsiteY19" fmla="*/ 353928 h 458787"/>
                <a:gd name="connsiteX20" fmla="*/ 546188 w 951344"/>
                <a:gd name="connsiteY20" fmla="*/ 337522 h 458787"/>
                <a:gd name="connsiteX21" fmla="*/ 554730 w 951344"/>
                <a:gd name="connsiteY21" fmla="*/ 322542 h 458787"/>
                <a:gd name="connsiteX22" fmla="*/ 565407 w 951344"/>
                <a:gd name="connsiteY22" fmla="*/ 313269 h 458787"/>
                <a:gd name="connsiteX23" fmla="*/ 660078 w 951344"/>
                <a:gd name="connsiteY23" fmla="*/ 296862 h 458787"/>
                <a:gd name="connsiteX24" fmla="*/ 148191 w 951344"/>
                <a:gd name="connsiteY24" fmla="*/ 296862 h 458787"/>
                <a:gd name="connsiteX25" fmla="*/ 178799 w 951344"/>
                <a:gd name="connsiteY25" fmla="*/ 313269 h 458787"/>
                <a:gd name="connsiteX26" fmla="*/ 198018 w 951344"/>
                <a:gd name="connsiteY26" fmla="*/ 318262 h 458787"/>
                <a:gd name="connsiteX27" fmla="*/ 220084 w 951344"/>
                <a:gd name="connsiteY27" fmla="*/ 319689 h 458787"/>
                <a:gd name="connsiteX28" fmla="*/ 242151 w 951344"/>
                <a:gd name="connsiteY28" fmla="*/ 318262 h 458787"/>
                <a:gd name="connsiteX29" fmla="*/ 259946 w 951344"/>
                <a:gd name="connsiteY29" fmla="*/ 313982 h 458787"/>
                <a:gd name="connsiteX30" fmla="*/ 291266 w 951344"/>
                <a:gd name="connsiteY30" fmla="*/ 296862 h 458787"/>
                <a:gd name="connsiteX31" fmla="*/ 385937 w 951344"/>
                <a:gd name="connsiteY31" fmla="*/ 313269 h 458787"/>
                <a:gd name="connsiteX32" fmla="*/ 396614 w 951344"/>
                <a:gd name="connsiteY32" fmla="*/ 322542 h 458787"/>
                <a:gd name="connsiteX33" fmla="*/ 405156 w 951344"/>
                <a:gd name="connsiteY33" fmla="*/ 337522 h 458787"/>
                <a:gd name="connsiteX34" fmla="*/ 411562 w 951344"/>
                <a:gd name="connsiteY34" fmla="*/ 353928 h 458787"/>
                <a:gd name="connsiteX35" fmla="*/ 412274 w 951344"/>
                <a:gd name="connsiteY35" fmla="*/ 355355 h 458787"/>
                <a:gd name="connsiteX36" fmla="*/ 422240 w 951344"/>
                <a:gd name="connsiteY36" fmla="*/ 386741 h 458787"/>
                <a:gd name="connsiteX37" fmla="*/ 439323 w 951344"/>
                <a:gd name="connsiteY37" fmla="*/ 451654 h 458787"/>
                <a:gd name="connsiteX38" fmla="*/ 434340 w 951344"/>
                <a:gd name="connsiteY38" fmla="*/ 458787 h 458787"/>
                <a:gd name="connsiteX39" fmla="*/ 5828 w 951344"/>
                <a:gd name="connsiteY39" fmla="*/ 458787 h 458787"/>
                <a:gd name="connsiteX40" fmla="*/ 134 w 951344"/>
                <a:gd name="connsiteY40" fmla="*/ 451654 h 458787"/>
                <a:gd name="connsiteX41" fmla="*/ 17217 w 951344"/>
                <a:gd name="connsiteY41" fmla="*/ 386741 h 458787"/>
                <a:gd name="connsiteX42" fmla="*/ 27894 w 951344"/>
                <a:gd name="connsiteY42" fmla="*/ 355355 h 458787"/>
                <a:gd name="connsiteX43" fmla="*/ 27894 w 951344"/>
                <a:gd name="connsiteY43" fmla="*/ 353928 h 458787"/>
                <a:gd name="connsiteX44" fmla="*/ 33589 w 951344"/>
                <a:gd name="connsiteY44" fmla="*/ 341088 h 458787"/>
                <a:gd name="connsiteX45" fmla="*/ 43554 w 951344"/>
                <a:gd name="connsiteY45" fmla="*/ 322542 h 458787"/>
                <a:gd name="connsiteX46" fmla="*/ 53520 w 951344"/>
                <a:gd name="connsiteY46" fmla="*/ 313269 h 458787"/>
                <a:gd name="connsiteX47" fmla="*/ 148191 w 951344"/>
                <a:gd name="connsiteY47" fmla="*/ 296862 h 458787"/>
                <a:gd name="connsiteX48" fmla="*/ 731260 w 951344"/>
                <a:gd name="connsiteY48" fmla="*/ 0 h 458787"/>
                <a:gd name="connsiteX49" fmla="*/ 851910 w 951344"/>
                <a:gd name="connsiteY49" fmla="*/ 123188 h 458787"/>
                <a:gd name="connsiteX50" fmla="*/ 849055 w 951344"/>
                <a:gd name="connsiteY50" fmla="*/ 142414 h 458787"/>
                <a:gd name="connsiteX51" fmla="*/ 848341 w 951344"/>
                <a:gd name="connsiteY51" fmla="*/ 143838 h 458787"/>
                <a:gd name="connsiteX52" fmla="*/ 842629 w 951344"/>
                <a:gd name="connsiteY52" fmla="*/ 161640 h 458787"/>
                <a:gd name="connsiteX53" fmla="*/ 842629 w 951344"/>
                <a:gd name="connsiteY53" fmla="*/ 162352 h 458787"/>
                <a:gd name="connsiteX54" fmla="*/ 838346 w 951344"/>
                <a:gd name="connsiteY54" fmla="*/ 171609 h 458787"/>
                <a:gd name="connsiteX55" fmla="*/ 826210 w 951344"/>
                <a:gd name="connsiteY55" fmla="*/ 192971 h 458787"/>
                <a:gd name="connsiteX56" fmla="*/ 806220 w 951344"/>
                <a:gd name="connsiteY56" fmla="*/ 216470 h 458787"/>
                <a:gd name="connsiteX57" fmla="*/ 796940 w 951344"/>
                <a:gd name="connsiteY57" fmla="*/ 238544 h 458787"/>
                <a:gd name="connsiteX58" fmla="*/ 791228 w 951344"/>
                <a:gd name="connsiteY58" fmla="*/ 244952 h 458787"/>
                <a:gd name="connsiteX59" fmla="*/ 770525 w 951344"/>
                <a:gd name="connsiteY59" fmla="*/ 258482 h 458787"/>
                <a:gd name="connsiteX60" fmla="*/ 731260 w 951344"/>
                <a:gd name="connsiteY60" fmla="*/ 269875 h 458787"/>
                <a:gd name="connsiteX61" fmla="*/ 691995 w 951344"/>
                <a:gd name="connsiteY61" fmla="*/ 257770 h 458787"/>
                <a:gd name="connsiteX62" fmla="*/ 671292 w 951344"/>
                <a:gd name="connsiteY62" fmla="*/ 244240 h 458787"/>
                <a:gd name="connsiteX63" fmla="*/ 665581 w 951344"/>
                <a:gd name="connsiteY63" fmla="*/ 238544 h 458787"/>
                <a:gd name="connsiteX64" fmla="*/ 656300 w 951344"/>
                <a:gd name="connsiteY64" fmla="*/ 216470 h 458787"/>
                <a:gd name="connsiteX65" fmla="*/ 637025 w 951344"/>
                <a:gd name="connsiteY65" fmla="*/ 192971 h 458787"/>
                <a:gd name="connsiteX66" fmla="*/ 624174 w 951344"/>
                <a:gd name="connsiteY66" fmla="*/ 171609 h 458787"/>
                <a:gd name="connsiteX67" fmla="*/ 619177 w 951344"/>
                <a:gd name="connsiteY67" fmla="*/ 159504 h 458787"/>
                <a:gd name="connsiteX68" fmla="*/ 619177 w 951344"/>
                <a:gd name="connsiteY68" fmla="*/ 158080 h 458787"/>
                <a:gd name="connsiteX69" fmla="*/ 610610 w 951344"/>
                <a:gd name="connsiteY69" fmla="*/ 123188 h 458787"/>
                <a:gd name="connsiteX70" fmla="*/ 731260 w 951344"/>
                <a:gd name="connsiteY70" fmla="*/ 0 h 458787"/>
                <a:gd name="connsiteX71" fmla="*/ 220085 w 951344"/>
                <a:gd name="connsiteY71" fmla="*/ 0 h 458787"/>
                <a:gd name="connsiteX72" fmla="*/ 340735 w 951344"/>
                <a:gd name="connsiteY72" fmla="*/ 123188 h 458787"/>
                <a:gd name="connsiteX73" fmla="*/ 331454 w 951344"/>
                <a:gd name="connsiteY73" fmla="*/ 161640 h 458787"/>
                <a:gd name="connsiteX74" fmla="*/ 331454 w 951344"/>
                <a:gd name="connsiteY74" fmla="*/ 162352 h 458787"/>
                <a:gd name="connsiteX75" fmla="*/ 327171 w 951344"/>
                <a:gd name="connsiteY75" fmla="*/ 171609 h 458787"/>
                <a:gd name="connsiteX76" fmla="*/ 315034 w 951344"/>
                <a:gd name="connsiteY76" fmla="*/ 192971 h 458787"/>
                <a:gd name="connsiteX77" fmla="*/ 295045 w 951344"/>
                <a:gd name="connsiteY77" fmla="*/ 216470 h 458787"/>
                <a:gd name="connsiteX78" fmla="*/ 285764 w 951344"/>
                <a:gd name="connsiteY78" fmla="*/ 238544 h 458787"/>
                <a:gd name="connsiteX79" fmla="*/ 279339 w 951344"/>
                <a:gd name="connsiteY79" fmla="*/ 244952 h 458787"/>
                <a:gd name="connsiteX80" fmla="*/ 259350 w 951344"/>
                <a:gd name="connsiteY80" fmla="*/ 258482 h 458787"/>
                <a:gd name="connsiteX81" fmla="*/ 220085 w 951344"/>
                <a:gd name="connsiteY81" fmla="*/ 269875 h 458787"/>
                <a:gd name="connsiteX82" fmla="*/ 180106 w 951344"/>
                <a:gd name="connsiteY82" fmla="*/ 257770 h 458787"/>
                <a:gd name="connsiteX83" fmla="*/ 159403 w 951344"/>
                <a:gd name="connsiteY83" fmla="*/ 244240 h 458787"/>
                <a:gd name="connsiteX84" fmla="*/ 154405 w 951344"/>
                <a:gd name="connsiteY84" fmla="*/ 238544 h 458787"/>
                <a:gd name="connsiteX85" fmla="*/ 145125 w 951344"/>
                <a:gd name="connsiteY85" fmla="*/ 216470 h 458787"/>
                <a:gd name="connsiteX86" fmla="*/ 125849 w 951344"/>
                <a:gd name="connsiteY86" fmla="*/ 192971 h 458787"/>
                <a:gd name="connsiteX87" fmla="*/ 112999 w 951344"/>
                <a:gd name="connsiteY87" fmla="*/ 171609 h 458787"/>
                <a:gd name="connsiteX88" fmla="*/ 108002 w 951344"/>
                <a:gd name="connsiteY88" fmla="*/ 159504 h 458787"/>
                <a:gd name="connsiteX89" fmla="*/ 107288 w 951344"/>
                <a:gd name="connsiteY89" fmla="*/ 158080 h 458787"/>
                <a:gd name="connsiteX90" fmla="*/ 99435 w 951344"/>
                <a:gd name="connsiteY90" fmla="*/ 123188 h 458787"/>
                <a:gd name="connsiteX91" fmla="*/ 220085 w 951344"/>
                <a:gd name="connsiteY91" fmla="*/ 0 h 45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951344" h="458787">
                  <a:moveTo>
                    <a:pt x="660078" y="296862"/>
                  </a:moveTo>
                  <a:cubicBezTo>
                    <a:pt x="660078" y="296862"/>
                    <a:pt x="670756" y="306849"/>
                    <a:pt x="691398" y="313982"/>
                  </a:cubicBezTo>
                  <a:cubicBezTo>
                    <a:pt x="696381" y="315409"/>
                    <a:pt x="702787" y="316835"/>
                    <a:pt x="709193" y="318262"/>
                  </a:cubicBezTo>
                  <a:cubicBezTo>
                    <a:pt x="716312" y="318975"/>
                    <a:pt x="723430" y="319689"/>
                    <a:pt x="731260" y="319689"/>
                  </a:cubicBezTo>
                  <a:cubicBezTo>
                    <a:pt x="739090" y="319689"/>
                    <a:pt x="746920" y="318975"/>
                    <a:pt x="753326" y="318262"/>
                  </a:cubicBezTo>
                  <a:cubicBezTo>
                    <a:pt x="759732" y="316835"/>
                    <a:pt x="766139" y="315409"/>
                    <a:pt x="771121" y="313982"/>
                  </a:cubicBezTo>
                  <a:cubicBezTo>
                    <a:pt x="792476" y="306849"/>
                    <a:pt x="803153" y="296862"/>
                    <a:pt x="803153" y="296862"/>
                  </a:cubicBezTo>
                  <a:cubicBezTo>
                    <a:pt x="803153" y="296862"/>
                    <a:pt x="864369" y="297575"/>
                    <a:pt x="897824" y="313269"/>
                  </a:cubicBezTo>
                  <a:cubicBezTo>
                    <a:pt x="901383" y="314695"/>
                    <a:pt x="904231" y="318262"/>
                    <a:pt x="907790" y="322542"/>
                  </a:cubicBezTo>
                  <a:cubicBezTo>
                    <a:pt x="910637" y="326822"/>
                    <a:pt x="913484" y="331815"/>
                    <a:pt x="916332" y="337522"/>
                  </a:cubicBezTo>
                  <a:cubicBezTo>
                    <a:pt x="918467" y="342515"/>
                    <a:pt x="921314" y="348222"/>
                    <a:pt x="923450" y="353928"/>
                  </a:cubicBezTo>
                  <a:cubicBezTo>
                    <a:pt x="923450" y="354642"/>
                    <a:pt x="923450" y="355355"/>
                    <a:pt x="923450" y="355355"/>
                  </a:cubicBezTo>
                  <a:cubicBezTo>
                    <a:pt x="927721" y="365341"/>
                    <a:pt x="930568" y="376041"/>
                    <a:pt x="934127" y="386741"/>
                  </a:cubicBezTo>
                  <a:cubicBezTo>
                    <a:pt x="941957" y="415274"/>
                    <a:pt x="947651" y="443094"/>
                    <a:pt x="951210" y="451654"/>
                  </a:cubicBezTo>
                  <a:cubicBezTo>
                    <a:pt x="951922" y="455221"/>
                    <a:pt x="949787" y="458787"/>
                    <a:pt x="945516" y="458787"/>
                  </a:cubicBezTo>
                  <a:cubicBezTo>
                    <a:pt x="945516" y="458787"/>
                    <a:pt x="945516" y="458787"/>
                    <a:pt x="517004" y="458787"/>
                  </a:cubicBezTo>
                  <a:cubicBezTo>
                    <a:pt x="513445" y="458787"/>
                    <a:pt x="510597" y="455221"/>
                    <a:pt x="512021" y="451654"/>
                  </a:cubicBezTo>
                  <a:cubicBezTo>
                    <a:pt x="514868" y="443094"/>
                    <a:pt x="520563" y="415274"/>
                    <a:pt x="529104" y="386741"/>
                  </a:cubicBezTo>
                  <a:cubicBezTo>
                    <a:pt x="531952" y="376041"/>
                    <a:pt x="535511" y="365341"/>
                    <a:pt x="539070" y="355355"/>
                  </a:cubicBezTo>
                  <a:cubicBezTo>
                    <a:pt x="539070" y="355355"/>
                    <a:pt x="539070" y="354642"/>
                    <a:pt x="539782" y="353928"/>
                  </a:cubicBezTo>
                  <a:cubicBezTo>
                    <a:pt x="541917" y="348222"/>
                    <a:pt x="544053" y="342515"/>
                    <a:pt x="546188" y="337522"/>
                  </a:cubicBezTo>
                  <a:cubicBezTo>
                    <a:pt x="549035" y="331815"/>
                    <a:pt x="551882" y="326822"/>
                    <a:pt x="554730" y="322542"/>
                  </a:cubicBezTo>
                  <a:cubicBezTo>
                    <a:pt x="558289" y="318262"/>
                    <a:pt x="561848" y="314695"/>
                    <a:pt x="565407" y="313269"/>
                  </a:cubicBezTo>
                  <a:cubicBezTo>
                    <a:pt x="598150" y="297575"/>
                    <a:pt x="660078" y="296862"/>
                    <a:pt x="660078" y="296862"/>
                  </a:cubicBezTo>
                  <a:close/>
                  <a:moveTo>
                    <a:pt x="148191" y="296862"/>
                  </a:moveTo>
                  <a:cubicBezTo>
                    <a:pt x="148191" y="296862"/>
                    <a:pt x="158868" y="306849"/>
                    <a:pt x="178799" y="313269"/>
                  </a:cubicBezTo>
                  <a:cubicBezTo>
                    <a:pt x="184494" y="315409"/>
                    <a:pt x="190900" y="316835"/>
                    <a:pt x="198018" y="318262"/>
                  </a:cubicBezTo>
                  <a:cubicBezTo>
                    <a:pt x="204424" y="318975"/>
                    <a:pt x="212254" y="319689"/>
                    <a:pt x="220084" y="319689"/>
                  </a:cubicBezTo>
                  <a:cubicBezTo>
                    <a:pt x="227914" y="319689"/>
                    <a:pt x="235032" y="318975"/>
                    <a:pt x="242151" y="318262"/>
                  </a:cubicBezTo>
                  <a:cubicBezTo>
                    <a:pt x="248557" y="316835"/>
                    <a:pt x="254963" y="315409"/>
                    <a:pt x="259946" y="313982"/>
                  </a:cubicBezTo>
                  <a:cubicBezTo>
                    <a:pt x="280588" y="306849"/>
                    <a:pt x="291266" y="296862"/>
                    <a:pt x="291266" y="296862"/>
                  </a:cubicBezTo>
                  <a:cubicBezTo>
                    <a:pt x="291266" y="296862"/>
                    <a:pt x="353194" y="297575"/>
                    <a:pt x="385937" y="313269"/>
                  </a:cubicBezTo>
                  <a:cubicBezTo>
                    <a:pt x="389496" y="314695"/>
                    <a:pt x="393055" y="318262"/>
                    <a:pt x="396614" y="322542"/>
                  </a:cubicBezTo>
                  <a:cubicBezTo>
                    <a:pt x="399462" y="326822"/>
                    <a:pt x="402309" y="331815"/>
                    <a:pt x="405156" y="337522"/>
                  </a:cubicBezTo>
                  <a:cubicBezTo>
                    <a:pt x="407291" y="342515"/>
                    <a:pt x="409427" y="348222"/>
                    <a:pt x="411562" y="353928"/>
                  </a:cubicBezTo>
                  <a:cubicBezTo>
                    <a:pt x="412274" y="354642"/>
                    <a:pt x="412274" y="355355"/>
                    <a:pt x="412274" y="355355"/>
                  </a:cubicBezTo>
                  <a:cubicBezTo>
                    <a:pt x="415833" y="365341"/>
                    <a:pt x="419392" y="376041"/>
                    <a:pt x="422240" y="386741"/>
                  </a:cubicBezTo>
                  <a:cubicBezTo>
                    <a:pt x="430781" y="415274"/>
                    <a:pt x="436476" y="443094"/>
                    <a:pt x="439323" y="451654"/>
                  </a:cubicBezTo>
                  <a:cubicBezTo>
                    <a:pt x="440747" y="455221"/>
                    <a:pt x="437900" y="458787"/>
                    <a:pt x="434340" y="458787"/>
                  </a:cubicBezTo>
                  <a:cubicBezTo>
                    <a:pt x="434340" y="458787"/>
                    <a:pt x="434340" y="458787"/>
                    <a:pt x="5828" y="458787"/>
                  </a:cubicBezTo>
                  <a:cubicBezTo>
                    <a:pt x="1557" y="458787"/>
                    <a:pt x="-578" y="455221"/>
                    <a:pt x="134" y="451654"/>
                  </a:cubicBezTo>
                  <a:cubicBezTo>
                    <a:pt x="3693" y="443094"/>
                    <a:pt x="9387" y="415274"/>
                    <a:pt x="17217" y="386741"/>
                  </a:cubicBezTo>
                  <a:cubicBezTo>
                    <a:pt x="20776" y="376041"/>
                    <a:pt x="23623" y="365341"/>
                    <a:pt x="27894" y="355355"/>
                  </a:cubicBezTo>
                  <a:cubicBezTo>
                    <a:pt x="27894" y="355355"/>
                    <a:pt x="27894" y="354642"/>
                    <a:pt x="27894" y="353928"/>
                  </a:cubicBezTo>
                  <a:cubicBezTo>
                    <a:pt x="30030" y="349648"/>
                    <a:pt x="31453" y="345368"/>
                    <a:pt x="33589" y="341088"/>
                  </a:cubicBezTo>
                  <a:cubicBezTo>
                    <a:pt x="36436" y="333955"/>
                    <a:pt x="39995" y="327535"/>
                    <a:pt x="43554" y="322542"/>
                  </a:cubicBezTo>
                  <a:cubicBezTo>
                    <a:pt x="47113" y="318262"/>
                    <a:pt x="49961" y="314695"/>
                    <a:pt x="53520" y="313269"/>
                  </a:cubicBezTo>
                  <a:cubicBezTo>
                    <a:pt x="86975" y="297575"/>
                    <a:pt x="148191" y="296862"/>
                    <a:pt x="148191" y="296862"/>
                  </a:cubicBezTo>
                  <a:close/>
                  <a:moveTo>
                    <a:pt x="731260" y="0"/>
                  </a:moveTo>
                  <a:cubicBezTo>
                    <a:pt x="799795" y="0"/>
                    <a:pt x="851910" y="55541"/>
                    <a:pt x="851910" y="123188"/>
                  </a:cubicBezTo>
                  <a:cubicBezTo>
                    <a:pt x="851910" y="129597"/>
                    <a:pt x="850482" y="136005"/>
                    <a:pt x="849055" y="142414"/>
                  </a:cubicBezTo>
                  <a:cubicBezTo>
                    <a:pt x="849055" y="143126"/>
                    <a:pt x="848341" y="143126"/>
                    <a:pt x="848341" y="143838"/>
                  </a:cubicBezTo>
                  <a:cubicBezTo>
                    <a:pt x="846913" y="150247"/>
                    <a:pt x="844771" y="155943"/>
                    <a:pt x="842629" y="161640"/>
                  </a:cubicBezTo>
                  <a:cubicBezTo>
                    <a:pt x="842629" y="161640"/>
                    <a:pt x="842629" y="161640"/>
                    <a:pt x="842629" y="162352"/>
                  </a:cubicBezTo>
                  <a:cubicBezTo>
                    <a:pt x="842629" y="163776"/>
                    <a:pt x="841202" y="167337"/>
                    <a:pt x="838346" y="171609"/>
                  </a:cubicBezTo>
                  <a:cubicBezTo>
                    <a:pt x="835490" y="178018"/>
                    <a:pt x="831207" y="185850"/>
                    <a:pt x="826210" y="192971"/>
                  </a:cubicBezTo>
                  <a:cubicBezTo>
                    <a:pt x="819785" y="202940"/>
                    <a:pt x="811932" y="212197"/>
                    <a:pt x="806220" y="216470"/>
                  </a:cubicBezTo>
                  <a:cubicBezTo>
                    <a:pt x="799081" y="234983"/>
                    <a:pt x="803365" y="227863"/>
                    <a:pt x="796940" y="238544"/>
                  </a:cubicBezTo>
                  <a:cubicBezTo>
                    <a:pt x="795512" y="240680"/>
                    <a:pt x="793370" y="242816"/>
                    <a:pt x="791228" y="244952"/>
                  </a:cubicBezTo>
                  <a:cubicBezTo>
                    <a:pt x="786231" y="249225"/>
                    <a:pt x="779092" y="254209"/>
                    <a:pt x="770525" y="258482"/>
                  </a:cubicBezTo>
                  <a:cubicBezTo>
                    <a:pt x="757675" y="264890"/>
                    <a:pt x="742683" y="269875"/>
                    <a:pt x="731260" y="269875"/>
                  </a:cubicBezTo>
                  <a:cubicBezTo>
                    <a:pt x="719838" y="269875"/>
                    <a:pt x="704846" y="264178"/>
                    <a:pt x="691995" y="257770"/>
                  </a:cubicBezTo>
                  <a:cubicBezTo>
                    <a:pt x="683429" y="253497"/>
                    <a:pt x="676290" y="248513"/>
                    <a:pt x="671292" y="244240"/>
                  </a:cubicBezTo>
                  <a:cubicBezTo>
                    <a:pt x="669150" y="242104"/>
                    <a:pt x="667009" y="239968"/>
                    <a:pt x="665581" y="238544"/>
                  </a:cubicBezTo>
                  <a:cubicBezTo>
                    <a:pt x="659870" y="229999"/>
                    <a:pt x="663439" y="234983"/>
                    <a:pt x="656300" y="216470"/>
                  </a:cubicBezTo>
                  <a:cubicBezTo>
                    <a:pt x="652017" y="213621"/>
                    <a:pt x="644164" y="203652"/>
                    <a:pt x="637025" y="192971"/>
                  </a:cubicBezTo>
                  <a:cubicBezTo>
                    <a:pt x="632027" y="185850"/>
                    <a:pt x="627744" y="178730"/>
                    <a:pt x="624174" y="171609"/>
                  </a:cubicBezTo>
                  <a:cubicBezTo>
                    <a:pt x="621319" y="166625"/>
                    <a:pt x="619177" y="162352"/>
                    <a:pt x="619177" y="159504"/>
                  </a:cubicBezTo>
                  <a:cubicBezTo>
                    <a:pt x="619177" y="158792"/>
                    <a:pt x="619177" y="158792"/>
                    <a:pt x="619177" y="158080"/>
                  </a:cubicBezTo>
                  <a:cubicBezTo>
                    <a:pt x="616321" y="147399"/>
                    <a:pt x="610610" y="135293"/>
                    <a:pt x="610610" y="123188"/>
                  </a:cubicBezTo>
                  <a:cubicBezTo>
                    <a:pt x="610610" y="55541"/>
                    <a:pt x="663439" y="0"/>
                    <a:pt x="731260" y="0"/>
                  </a:cubicBezTo>
                  <a:close/>
                  <a:moveTo>
                    <a:pt x="220085" y="0"/>
                  </a:moveTo>
                  <a:cubicBezTo>
                    <a:pt x="287906" y="0"/>
                    <a:pt x="340735" y="55541"/>
                    <a:pt x="340735" y="123188"/>
                  </a:cubicBezTo>
                  <a:cubicBezTo>
                    <a:pt x="340735" y="136718"/>
                    <a:pt x="335024" y="149535"/>
                    <a:pt x="331454" y="161640"/>
                  </a:cubicBezTo>
                  <a:cubicBezTo>
                    <a:pt x="331454" y="161640"/>
                    <a:pt x="331454" y="161640"/>
                    <a:pt x="331454" y="162352"/>
                  </a:cubicBezTo>
                  <a:cubicBezTo>
                    <a:pt x="331454" y="163776"/>
                    <a:pt x="330026" y="167337"/>
                    <a:pt x="327171" y="171609"/>
                  </a:cubicBezTo>
                  <a:cubicBezTo>
                    <a:pt x="324315" y="178018"/>
                    <a:pt x="320032" y="185850"/>
                    <a:pt x="315034" y="192971"/>
                  </a:cubicBezTo>
                  <a:cubicBezTo>
                    <a:pt x="307895" y="202940"/>
                    <a:pt x="300756" y="212197"/>
                    <a:pt x="295045" y="216470"/>
                  </a:cubicBezTo>
                  <a:cubicBezTo>
                    <a:pt x="287192" y="234983"/>
                    <a:pt x="291475" y="227863"/>
                    <a:pt x="285764" y="238544"/>
                  </a:cubicBezTo>
                  <a:cubicBezTo>
                    <a:pt x="284336" y="240680"/>
                    <a:pt x="282195" y="242816"/>
                    <a:pt x="279339" y="244952"/>
                  </a:cubicBezTo>
                  <a:cubicBezTo>
                    <a:pt x="274342" y="249225"/>
                    <a:pt x="267203" y="254209"/>
                    <a:pt x="259350" y="258482"/>
                  </a:cubicBezTo>
                  <a:cubicBezTo>
                    <a:pt x="246499" y="264890"/>
                    <a:pt x="231507" y="269875"/>
                    <a:pt x="220085" y="269875"/>
                  </a:cubicBezTo>
                  <a:cubicBezTo>
                    <a:pt x="207948" y="269875"/>
                    <a:pt x="192956" y="264178"/>
                    <a:pt x="180106" y="257770"/>
                  </a:cubicBezTo>
                  <a:cubicBezTo>
                    <a:pt x="172253" y="253497"/>
                    <a:pt x="164400" y="248513"/>
                    <a:pt x="159403" y="244240"/>
                  </a:cubicBezTo>
                  <a:cubicBezTo>
                    <a:pt x="157261" y="242104"/>
                    <a:pt x="155833" y="239968"/>
                    <a:pt x="154405" y="238544"/>
                  </a:cubicBezTo>
                  <a:cubicBezTo>
                    <a:pt x="148694" y="229999"/>
                    <a:pt x="152264" y="234983"/>
                    <a:pt x="145125" y="216470"/>
                  </a:cubicBezTo>
                  <a:cubicBezTo>
                    <a:pt x="140841" y="213621"/>
                    <a:pt x="132988" y="203652"/>
                    <a:pt x="125849" y="192971"/>
                  </a:cubicBezTo>
                  <a:cubicBezTo>
                    <a:pt x="120852" y="185850"/>
                    <a:pt x="115855" y="178730"/>
                    <a:pt x="112999" y="171609"/>
                  </a:cubicBezTo>
                  <a:cubicBezTo>
                    <a:pt x="110143" y="166625"/>
                    <a:pt x="108002" y="162352"/>
                    <a:pt x="108002" y="159504"/>
                  </a:cubicBezTo>
                  <a:cubicBezTo>
                    <a:pt x="107288" y="158792"/>
                    <a:pt x="108002" y="158792"/>
                    <a:pt x="107288" y="158080"/>
                  </a:cubicBezTo>
                  <a:cubicBezTo>
                    <a:pt x="105146" y="147399"/>
                    <a:pt x="99435" y="135293"/>
                    <a:pt x="99435" y="123188"/>
                  </a:cubicBezTo>
                  <a:cubicBezTo>
                    <a:pt x="99435" y="55541"/>
                    <a:pt x="151550" y="0"/>
                    <a:pt x="220085"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108" name="Group 107">
            <a:extLst>
              <a:ext uri="{FF2B5EF4-FFF2-40B4-BE49-F238E27FC236}">
                <a16:creationId xmlns:a16="http://schemas.microsoft.com/office/drawing/2014/main" id="{AB69E1B8-0C39-36CB-29EF-D8AEAD416AA7}"/>
              </a:ext>
            </a:extLst>
          </p:cNvPr>
          <p:cNvGrpSpPr/>
          <p:nvPr/>
        </p:nvGrpSpPr>
        <p:grpSpPr>
          <a:xfrm>
            <a:off x="9463058" y="1066493"/>
            <a:ext cx="462558" cy="462558"/>
            <a:chOff x="-851420" y="3524363"/>
            <a:chExt cx="462558" cy="462558"/>
          </a:xfrm>
        </p:grpSpPr>
        <p:sp>
          <p:nvSpPr>
            <p:cNvPr id="78" name="Freeform 10">
              <a:extLst>
                <a:ext uri="{FF2B5EF4-FFF2-40B4-BE49-F238E27FC236}">
                  <a16:creationId xmlns:a16="http://schemas.microsoft.com/office/drawing/2014/main" id="{1B239585-0105-D622-8A89-DD42FBA8BF73}"/>
                </a:ext>
              </a:extLst>
            </p:cNvPr>
            <p:cNvSpPr>
              <a:spLocks/>
            </p:cNvSpPr>
            <p:nvPr/>
          </p:nvSpPr>
          <p:spPr bwMode="auto">
            <a:xfrm>
              <a:off x="-699832" y="3524363"/>
              <a:ext cx="263319" cy="244999"/>
            </a:xfrm>
            <a:custGeom>
              <a:avLst/>
              <a:gdLst>
                <a:gd name="T0" fmla="*/ 869 w 894"/>
                <a:gd name="T1" fmla="*/ 310 h 833"/>
                <a:gd name="T2" fmla="*/ 583 w 894"/>
                <a:gd name="T3" fmla="*/ 310 h 833"/>
                <a:gd name="T4" fmla="*/ 583 w 894"/>
                <a:gd name="T5" fmla="*/ 26 h 833"/>
                <a:gd name="T6" fmla="*/ 557 w 894"/>
                <a:gd name="T7" fmla="*/ 0 h 833"/>
                <a:gd name="T8" fmla="*/ 337 w 894"/>
                <a:gd name="T9" fmla="*/ 0 h 833"/>
                <a:gd name="T10" fmla="*/ 311 w 894"/>
                <a:gd name="T11" fmla="*/ 26 h 833"/>
                <a:gd name="T12" fmla="*/ 311 w 894"/>
                <a:gd name="T13" fmla="*/ 310 h 833"/>
                <a:gd name="T14" fmla="*/ 25 w 894"/>
                <a:gd name="T15" fmla="*/ 310 h 833"/>
                <a:gd name="T16" fmla="*/ 0 w 894"/>
                <a:gd name="T17" fmla="*/ 336 h 833"/>
                <a:gd name="T18" fmla="*/ 0 w 894"/>
                <a:gd name="T19" fmla="*/ 555 h 833"/>
                <a:gd name="T20" fmla="*/ 25 w 894"/>
                <a:gd name="T21" fmla="*/ 579 h 833"/>
                <a:gd name="T22" fmla="*/ 311 w 894"/>
                <a:gd name="T23" fmla="*/ 579 h 833"/>
                <a:gd name="T24" fmla="*/ 311 w 894"/>
                <a:gd name="T25" fmla="*/ 701 h 833"/>
                <a:gd name="T26" fmla="*/ 311 w 894"/>
                <a:gd name="T27" fmla="*/ 774 h 833"/>
                <a:gd name="T28" fmla="*/ 311 w 894"/>
                <a:gd name="T29" fmla="*/ 785 h 833"/>
                <a:gd name="T30" fmla="*/ 488 w 894"/>
                <a:gd name="T31" fmla="*/ 794 h 833"/>
                <a:gd name="T32" fmla="*/ 583 w 894"/>
                <a:gd name="T33" fmla="*/ 833 h 833"/>
                <a:gd name="T34" fmla="*/ 583 w 894"/>
                <a:gd name="T35" fmla="*/ 787 h 833"/>
                <a:gd name="T36" fmla="*/ 583 w 894"/>
                <a:gd name="T37" fmla="*/ 787 h 833"/>
                <a:gd name="T38" fmla="*/ 583 w 894"/>
                <a:gd name="T39" fmla="*/ 579 h 833"/>
                <a:gd name="T40" fmla="*/ 869 w 894"/>
                <a:gd name="T41" fmla="*/ 579 h 833"/>
                <a:gd name="T42" fmla="*/ 894 w 894"/>
                <a:gd name="T43" fmla="*/ 555 h 833"/>
                <a:gd name="T44" fmla="*/ 894 w 894"/>
                <a:gd name="T45" fmla="*/ 336 h 833"/>
                <a:gd name="T46" fmla="*/ 869 w 894"/>
                <a:gd name="T47" fmla="*/ 31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4" h="833">
                  <a:moveTo>
                    <a:pt x="869" y="310"/>
                  </a:moveTo>
                  <a:cubicBezTo>
                    <a:pt x="869" y="310"/>
                    <a:pt x="869" y="310"/>
                    <a:pt x="583" y="310"/>
                  </a:cubicBezTo>
                  <a:cubicBezTo>
                    <a:pt x="583" y="310"/>
                    <a:pt x="583" y="310"/>
                    <a:pt x="583" y="26"/>
                  </a:cubicBezTo>
                  <a:cubicBezTo>
                    <a:pt x="583" y="12"/>
                    <a:pt x="571" y="0"/>
                    <a:pt x="557" y="0"/>
                  </a:cubicBezTo>
                  <a:cubicBezTo>
                    <a:pt x="557" y="0"/>
                    <a:pt x="557" y="0"/>
                    <a:pt x="337" y="0"/>
                  </a:cubicBezTo>
                  <a:cubicBezTo>
                    <a:pt x="323" y="0"/>
                    <a:pt x="311" y="12"/>
                    <a:pt x="311" y="26"/>
                  </a:cubicBezTo>
                  <a:cubicBezTo>
                    <a:pt x="311" y="26"/>
                    <a:pt x="311" y="26"/>
                    <a:pt x="311" y="310"/>
                  </a:cubicBezTo>
                  <a:cubicBezTo>
                    <a:pt x="311" y="310"/>
                    <a:pt x="311" y="310"/>
                    <a:pt x="25" y="310"/>
                  </a:cubicBezTo>
                  <a:cubicBezTo>
                    <a:pt x="11" y="310"/>
                    <a:pt x="0" y="322"/>
                    <a:pt x="0" y="336"/>
                  </a:cubicBezTo>
                  <a:cubicBezTo>
                    <a:pt x="0" y="336"/>
                    <a:pt x="0" y="336"/>
                    <a:pt x="0" y="555"/>
                  </a:cubicBezTo>
                  <a:cubicBezTo>
                    <a:pt x="0" y="569"/>
                    <a:pt x="11" y="579"/>
                    <a:pt x="25" y="579"/>
                  </a:cubicBezTo>
                  <a:cubicBezTo>
                    <a:pt x="25" y="579"/>
                    <a:pt x="25" y="579"/>
                    <a:pt x="311" y="579"/>
                  </a:cubicBezTo>
                  <a:cubicBezTo>
                    <a:pt x="311" y="579"/>
                    <a:pt x="311" y="579"/>
                    <a:pt x="311" y="701"/>
                  </a:cubicBezTo>
                  <a:cubicBezTo>
                    <a:pt x="311" y="722"/>
                    <a:pt x="311" y="746"/>
                    <a:pt x="311" y="774"/>
                  </a:cubicBezTo>
                  <a:cubicBezTo>
                    <a:pt x="311" y="785"/>
                    <a:pt x="311" y="785"/>
                    <a:pt x="311" y="785"/>
                  </a:cubicBezTo>
                  <a:cubicBezTo>
                    <a:pt x="488" y="794"/>
                    <a:pt x="488" y="794"/>
                    <a:pt x="488" y="794"/>
                  </a:cubicBezTo>
                  <a:cubicBezTo>
                    <a:pt x="525" y="796"/>
                    <a:pt x="558" y="811"/>
                    <a:pt x="583" y="833"/>
                  </a:cubicBezTo>
                  <a:cubicBezTo>
                    <a:pt x="583" y="787"/>
                    <a:pt x="583" y="787"/>
                    <a:pt x="583" y="787"/>
                  </a:cubicBezTo>
                  <a:cubicBezTo>
                    <a:pt x="583" y="787"/>
                    <a:pt x="583" y="787"/>
                    <a:pt x="583" y="787"/>
                  </a:cubicBezTo>
                  <a:cubicBezTo>
                    <a:pt x="583" y="787"/>
                    <a:pt x="583" y="787"/>
                    <a:pt x="583" y="579"/>
                  </a:cubicBezTo>
                  <a:cubicBezTo>
                    <a:pt x="583" y="579"/>
                    <a:pt x="583" y="579"/>
                    <a:pt x="869" y="579"/>
                  </a:cubicBezTo>
                  <a:cubicBezTo>
                    <a:pt x="883" y="579"/>
                    <a:pt x="894" y="569"/>
                    <a:pt x="894" y="555"/>
                  </a:cubicBezTo>
                  <a:cubicBezTo>
                    <a:pt x="894" y="555"/>
                    <a:pt x="894" y="555"/>
                    <a:pt x="894" y="336"/>
                  </a:cubicBezTo>
                  <a:cubicBezTo>
                    <a:pt x="894" y="322"/>
                    <a:pt x="883" y="310"/>
                    <a:pt x="869" y="31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79" name="Freeform 16">
              <a:extLst>
                <a:ext uri="{FF2B5EF4-FFF2-40B4-BE49-F238E27FC236}">
                  <a16:creationId xmlns:a16="http://schemas.microsoft.com/office/drawing/2014/main" id="{BB84A94B-69D2-491D-9E26-C403776CFC87}"/>
                </a:ext>
              </a:extLst>
            </p:cNvPr>
            <p:cNvSpPr>
              <a:spLocks/>
            </p:cNvSpPr>
            <p:nvPr/>
          </p:nvSpPr>
          <p:spPr bwMode="auto">
            <a:xfrm>
              <a:off x="-851420" y="3764135"/>
              <a:ext cx="462558" cy="222786"/>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nvGrpSpPr>
          <p:cNvPr id="84" name="Group 83">
            <a:extLst>
              <a:ext uri="{FF2B5EF4-FFF2-40B4-BE49-F238E27FC236}">
                <a16:creationId xmlns:a16="http://schemas.microsoft.com/office/drawing/2014/main" id="{F897E2CC-FD4A-026B-DF76-14FAE4A0EF3C}"/>
              </a:ext>
            </a:extLst>
          </p:cNvPr>
          <p:cNvGrpSpPr/>
          <p:nvPr/>
        </p:nvGrpSpPr>
        <p:grpSpPr>
          <a:xfrm>
            <a:off x="7775539" y="607834"/>
            <a:ext cx="446294" cy="415697"/>
            <a:chOff x="304202" y="324130"/>
            <a:chExt cx="1289304" cy="1200912"/>
          </a:xfrm>
        </p:grpSpPr>
        <p:sp>
          <p:nvSpPr>
            <p:cNvPr id="85" name="Freeform 10">
              <a:extLst>
                <a:ext uri="{FF2B5EF4-FFF2-40B4-BE49-F238E27FC236}">
                  <a16:creationId xmlns:a16="http://schemas.microsoft.com/office/drawing/2014/main" id="{DD2FEFAA-79C6-B133-16B2-5C2DF67E72EA}"/>
                </a:ext>
              </a:extLst>
            </p:cNvPr>
            <p:cNvSpPr>
              <a:spLocks noEditPoints="1"/>
            </p:cNvSpPr>
            <p:nvPr/>
          </p:nvSpPr>
          <p:spPr bwMode="auto">
            <a:xfrm>
              <a:off x="563282" y="324130"/>
              <a:ext cx="771144" cy="893826"/>
            </a:xfrm>
            <a:custGeom>
              <a:avLst/>
              <a:gdLst>
                <a:gd name="T0" fmla="*/ 232 w 1080"/>
                <a:gd name="T1" fmla="*/ 1237 h 1251"/>
                <a:gd name="T2" fmla="*/ 0 w 1080"/>
                <a:gd name="T3" fmla="*/ 1153 h 1251"/>
                <a:gd name="T4" fmla="*/ 114 w 1080"/>
                <a:gd name="T5" fmla="*/ 905 h 1251"/>
                <a:gd name="T6" fmla="*/ 148 w 1080"/>
                <a:gd name="T7" fmla="*/ 984 h 1251"/>
                <a:gd name="T8" fmla="*/ 232 w 1080"/>
                <a:gd name="T9" fmla="*/ 1149 h 1251"/>
                <a:gd name="T10" fmla="*/ 232 w 1080"/>
                <a:gd name="T11" fmla="*/ 1237 h 1251"/>
                <a:gd name="T12" fmla="*/ 1014 w 1080"/>
                <a:gd name="T13" fmla="*/ 481 h 1251"/>
                <a:gd name="T14" fmla="*/ 540 w 1080"/>
                <a:gd name="T15" fmla="*/ 0 h 1251"/>
                <a:gd name="T16" fmla="*/ 66 w 1080"/>
                <a:gd name="T17" fmla="*/ 481 h 1251"/>
                <a:gd name="T18" fmla="*/ 92 w 1080"/>
                <a:gd name="T19" fmla="*/ 677 h 1251"/>
                <a:gd name="T20" fmla="*/ 92 w 1080"/>
                <a:gd name="T21" fmla="*/ 678 h 1251"/>
                <a:gd name="T22" fmla="*/ 277 w 1080"/>
                <a:gd name="T23" fmla="*/ 386 h 1251"/>
                <a:gd name="T24" fmla="*/ 283 w 1080"/>
                <a:gd name="T25" fmla="*/ 387 h 1251"/>
                <a:gd name="T26" fmla="*/ 907 w 1080"/>
                <a:gd name="T27" fmla="*/ 717 h 1251"/>
                <a:gd name="T28" fmla="*/ 910 w 1080"/>
                <a:gd name="T29" fmla="*/ 718 h 1251"/>
                <a:gd name="T30" fmla="*/ 940 w 1080"/>
                <a:gd name="T31" fmla="*/ 718 h 1251"/>
                <a:gd name="T32" fmla="*/ 945 w 1080"/>
                <a:gd name="T33" fmla="*/ 716 h 1251"/>
                <a:gd name="T34" fmla="*/ 997 w 1080"/>
                <a:gd name="T35" fmla="*/ 643 h 1251"/>
                <a:gd name="T36" fmla="*/ 997 w 1080"/>
                <a:gd name="T37" fmla="*/ 644 h 1251"/>
                <a:gd name="T38" fmla="*/ 1014 w 1080"/>
                <a:gd name="T39" fmla="*/ 481 h 1251"/>
                <a:gd name="T40" fmla="*/ 965 w 1080"/>
                <a:gd name="T41" fmla="*/ 907 h 1251"/>
                <a:gd name="T42" fmla="*/ 932 w 1080"/>
                <a:gd name="T43" fmla="*/ 984 h 1251"/>
                <a:gd name="T44" fmla="*/ 848 w 1080"/>
                <a:gd name="T45" fmla="*/ 1149 h 1251"/>
                <a:gd name="T46" fmla="*/ 848 w 1080"/>
                <a:gd name="T47" fmla="*/ 1237 h 1251"/>
                <a:gd name="T48" fmla="*/ 1080 w 1080"/>
                <a:gd name="T49" fmla="*/ 1153 h 1251"/>
                <a:gd name="T50" fmla="*/ 965 w 1080"/>
                <a:gd name="T51" fmla="*/ 907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80" h="1251">
                  <a:moveTo>
                    <a:pt x="232" y="1237"/>
                  </a:moveTo>
                  <a:cubicBezTo>
                    <a:pt x="187" y="1247"/>
                    <a:pt x="97" y="1250"/>
                    <a:pt x="0" y="1153"/>
                  </a:cubicBezTo>
                  <a:cubicBezTo>
                    <a:pt x="103" y="1143"/>
                    <a:pt x="110" y="995"/>
                    <a:pt x="114" y="905"/>
                  </a:cubicBezTo>
                  <a:cubicBezTo>
                    <a:pt x="124" y="928"/>
                    <a:pt x="136" y="956"/>
                    <a:pt x="148" y="984"/>
                  </a:cubicBezTo>
                  <a:cubicBezTo>
                    <a:pt x="188" y="1076"/>
                    <a:pt x="214" y="1123"/>
                    <a:pt x="232" y="1149"/>
                  </a:cubicBezTo>
                  <a:lnTo>
                    <a:pt x="232" y="1237"/>
                  </a:lnTo>
                  <a:close/>
                  <a:moveTo>
                    <a:pt x="1014" y="481"/>
                  </a:moveTo>
                  <a:cubicBezTo>
                    <a:pt x="1014" y="215"/>
                    <a:pt x="808" y="0"/>
                    <a:pt x="540" y="0"/>
                  </a:cubicBezTo>
                  <a:cubicBezTo>
                    <a:pt x="272" y="0"/>
                    <a:pt x="66" y="215"/>
                    <a:pt x="66" y="481"/>
                  </a:cubicBezTo>
                  <a:cubicBezTo>
                    <a:pt x="66" y="540"/>
                    <a:pt x="73" y="625"/>
                    <a:pt x="92" y="677"/>
                  </a:cubicBezTo>
                  <a:cubicBezTo>
                    <a:pt x="92" y="678"/>
                    <a:pt x="92" y="678"/>
                    <a:pt x="92" y="678"/>
                  </a:cubicBezTo>
                  <a:cubicBezTo>
                    <a:pt x="139" y="720"/>
                    <a:pt x="138" y="432"/>
                    <a:pt x="277" y="386"/>
                  </a:cubicBezTo>
                  <a:cubicBezTo>
                    <a:pt x="279" y="386"/>
                    <a:pt x="281" y="386"/>
                    <a:pt x="283" y="387"/>
                  </a:cubicBezTo>
                  <a:cubicBezTo>
                    <a:pt x="907" y="717"/>
                    <a:pt x="907" y="717"/>
                    <a:pt x="907" y="717"/>
                  </a:cubicBezTo>
                  <a:cubicBezTo>
                    <a:pt x="908" y="718"/>
                    <a:pt x="909" y="718"/>
                    <a:pt x="910" y="718"/>
                  </a:cubicBezTo>
                  <a:cubicBezTo>
                    <a:pt x="940" y="718"/>
                    <a:pt x="940" y="718"/>
                    <a:pt x="940" y="718"/>
                  </a:cubicBezTo>
                  <a:cubicBezTo>
                    <a:pt x="942" y="718"/>
                    <a:pt x="944" y="717"/>
                    <a:pt x="945" y="716"/>
                  </a:cubicBezTo>
                  <a:cubicBezTo>
                    <a:pt x="988" y="667"/>
                    <a:pt x="996" y="644"/>
                    <a:pt x="997" y="643"/>
                  </a:cubicBezTo>
                  <a:cubicBezTo>
                    <a:pt x="997" y="643"/>
                    <a:pt x="997" y="643"/>
                    <a:pt x="997" y="644"/>
                  </a:cubicBezTo>
                  <a:cubicBezTo>
                    <a:pt x="1015" y="593"/>
                    <a:pt x="1014" y="538"/>
                    <a:pt x="1014" y="481"/>
                  </a:cubicBezTo>
                  <a:close/>
                  <a:moveTo>
                    <a:pt x="965" y="907"/>
                  </a:moveTo>
                  <a:cubicBezTo>
                    <a:pt x="955" y="930"/>
                    <a:pt x="944" y="957"/>
                    <a:pt x="932" y="984"/>
                  </a:cubicBezTo>
                  <a:cubicBezTo>
                    <a:pt x="892" y="1076"/>
                    <a:pt x="866" y="1123"/>
                    <a:pt x="848" y="1149"/>
                  </a:cubicBezTo>
                  <a:cubicBezTo>
                    <a:pt x="848" y="1237"/>
                    <a:pt x="848" y="1237"/>
                    <a:pt x="848" y="1237"/>
                  </a:cubicBezTo>
                  <a:cubicBezTo>
                    <a:pt x="892" y="1247"/>
                    <a:pt x="982" y="1251"/>
                    <a:pt x="1080" y="1153"/>
                  </a:cubicBezTo>
                  <a:cubicBezTo>
                    <a:pt x="978" y="1143"/>
                    <a:pt x="969" y="997"/>
                    <a:pt x="965" y="9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1">
              <a:extLst>
                <a:ext uri="{FF2B5EF4-FFF2-40B4-BE49-F238E27FC236}">
                  <a16:creationId xmlns:a16="http://schemas.microsoft.com/office/drawing/2014/main" id="{6CFDA237-F0D0-6D72-9EAF-5886F31D2755}"/>
                </a:ext>
              </a:extLst>
            </p:cNvPr>
            <p:cNvSpPr>
              <a:spLocks noEditPoints="1"/>
            </p:cNvSpPr>
            <p:nvPr/>
          </p:nvSpPr>
          <p:spPr bwMode="auto">
            <a:xfrm>
              <a:off x="304202" y="838480"/>
              <a:ext cx="1289304" cy="686562"/>
            </a:xfrm>
            <a:custGeom>
              <a:avLst/>
              <a:gdLst>
                <a:gd name="T0" fmla="*/ 1195 w 1806"/>
                <a:gd name="T1" fmla="*/ 548 h 961"/>
                <a:gd name="T2" fmla="*/ 1195 w 1806"/>
                <a:gd name="T3" fmla="*/ 548 h 961"/>
                <a:gd name="T4" fmla="*/ 1583 w 1806"/>
                <a:gd name="T5" fmla="*/ 614 h 961"/>
                <a:gd name="T6" fmla="*/ 1801 w 1806"/>
                <a:gd name="T7" fmla="*/ 931 h 961"/>
                <a:gd name="T8" fmla="*/ 1780 w 1806"/>
                <a:gd name="T9" fmla="*/ 961 h 961"/>
                <a:gd name="T10" fmla="*/ 26 w 1806"/>
                <a:gd name="T11" fmla="*/ 961 h 961"/>
                <a:gd name="T12" fmla="*/ 5 w 1806"/>
                <a:gd name="T13" fmla="*/ 931 h 961"/>
                <a:gd name="T14" fmla="*/ 223 w 1806"/>
                <a:gd name="T15" fmla="*/ 614 h 961"/>
                <a:gd name="T16" fmla="*/ 611 w 1806"/>
                <a:gd name="T17" fmla="*/ 548 h 961"/>
                <a:gd name="T18" fmla="*/ 611 w 1806"/>
                <a:gd name="T19" fmla="*/ 548 h 961"/>
                <a:gd name="T20" fmla="*/ 897 w 1806"/>
                <a:gd name="T21" fmla="*/ 782 h 961"/>
                <a:gd name="T22" fmla="*/ 909 w 1806"/>
                <a:gd name="T23" fmla="*/ 781 h 961"/>
                <a:gd name="T24" fmla="*/ 1195 w 1806"/>
                <a:gd name="T25" fmla="*/ 548 h 961"/>
                <a:gd name="T26" fmla="*/ 1329 w 1806"/>
                <a:gd name="T27" fmla="*/ 24 h 961"/>
                <a:gd name="T28" fmla="*/ 1283 w 1806"/>
                <a:gd name="T29" fmla="*/ 77 h 961"/>
                <a:gd name="T30" fmla="*/ 1273 w 1806"/>
                <a:gd name="T31" fmla="*/ 89 h 961"/>
                <a:gd name="T32" fmla="*/ 1129 w 1806"/>
                <a:gd name="T33" fmla="*/ 391 h 961"/>
                <a:gd name="T34" fmla="*/ 903 w 1806"/>
                <a:gd name="T35" fmla="*/ 504 h 961"/>
                <a:gd name="T36" fmla="*/ 677 w 1806"/>
                <a:gd name="T37" fmla="*/ 391 h 961"/>
                <a:gd name="T38" fmla="*/ 533 w 1806"/>
                <a:gd name="T39" fmla="*/ 89 h 961"/>
                <a:gd name="T40" fmla="*/ 523 w 1806"/>
                <a:gd name="T41" fmla="*/ 77 h 961"/>
                <a:gd name="T42" fmla="*/ 477 w 1806"/>
                <a:gd name="T43" fmla="*/ 24 h 961"/>
                <a:gd name="T44" fmla="*/ 426 w 1806"/>
                <a:gd name="T45" fmla="*/ 0 h 961"/>
                <a:gd name="T46" fmla="*/ 426 w 1806"/>
                <a:gd name="T47" fmla="*/ 5 h 961"/>
                <a:gd name="T48" fmla="*/ 495 w 1806"/>
                <a:gd name="T49" fmla="*/ 112 h 961"/>
                <a:gd name="T50" fmla="*/ 639 w 1806"/>
                <a:gd name="T51" fmla="*/ 414 h 961"/>
                <a:gd name="T52" fmla="*/ 639 w 1806"/>
                <a:gd name="T53" fmla="*/ 512 h 961"/>
                <a:gd name="T54" fmla="*/ 646 w 1806"/>
                <a:gd name="T55" fmla="*/ 522 h 961"/>
                <a:gd name="T56" fmla="*/ 683 w 1806"/>
                <a:gd name="T57" fmla="*/ 560 h 961"/>
                <a:gd name="T58" fmla="*/ 683 w 1806"/>
                <a:gd name="T59" fmla="*/ 451 h 961"/>
                <a:gd name="T60" fmla="*/ 903 w 1806"/>
                <a:gd name="T61" fmla="*/ 548 h 961"/>
                <a:gd name="T62" fmla="*/ 1123 w 1806"/>
                <a:gd name="T63" fmla="*/ 451 h 961"/>
                <a:gd name="T64" fmla="*/ 1123 w 1806"/>
                <a:gd name="T65" fmla="*/ 560 h 961"/>
                <a:gd name="T66" fmla="*/ 1160 w 1806"/>
                <a:gd name="T67" fmla="*/ 522 h 961"/>
                <a:gd name="T68" fmla="*/ 1167 w 1806"/>
                <a:gd name="T69" fmla="*/ 512 h 961"/>
                <a:gd name="T70" fmla="*/ 1167 w 1806"/>
                <a:gd name="T71" fmla="*/ 414 h 961"/>
                <a:gd name="T72" fmla="*/ 1311 w 1806"/>
                <a:gd name="T73" fmla="*/ 112 h 961"/>
                <a:gd name="T74" fmla="*/ 1380 w 1806"/>
                <a:gd name="T75" fmla="*/ 3 h 961"/>
                <a:gd name="T76" fmla="*/ 1380 w 1806"/>
                <a:gd name="T77" fmla="*/ 0 h 961"/>
                <a:gd name="T78" fmla="*/ 1329 w 1806"/>
                <a:gd name="T79"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06" h="961">
                  <a:moveTo>
                    <a:pt x="1195" y="548"/>
                  </a:moveTo>
                  <a:cubicBezTo>
                    <a:pt x="1195" y="548"/>
                    <a:pt x="1195" y="548"/>
                    <a:pt x="1195" y="548"/>
                  </a:cubicBezTo>
                  <a:cubicBezTo>
                    <a:pt x="1195" y="548"/>
                    <a:pt x="1447" y="551"/>
                    <a:pt x="1583" y="614"/>
                  </a:cubicBezTo>
                  <a:cubicBezTo>
                    <a:pt x="1693" y="664"/>
                    <a:pt x="1773" y="857"/>
                    <a:pt x="1801" y="931"/>
                  </a:cubicBezTo>
                  <a:cubicBezTo>
                    <a:pt x="1806" y="945"/>
                    <a:pt x="1796" y="961"/>
                    <a:pt x="1780" y="961"/>
                  </a:cubicBezTo>
                  <a:cubicBezTo>
                    <a:pt x="26" y="961"/>
                    <a:pt x="26" y="961"/>
                    <a:pt x="26" y="961"/>
                  </a:cubicBezTo>
                  <a:cubicBezTo>
                    <a:pt x="10" y="961"/>
                    <a:pt x="0" y="945"/>
                    <a:pt x="5" y="931"/>
                  </a:cubicBezTo>
                  <a:cubicBezTo>
                    <a:pt x="33" y="857"/>
                    <a:pt x="113" y="664"/>
                    <a:pt x="223" y="614"/>
                  </a:cubicBezTo>
                  <a:cubicBezTo>
                    <a:pt x="359" y="551"/>
                    <a:pt x="611" y="548"/>
                    <a:pt x="611" y="548"/>
                  </a:cubicBezTo>
                  <a:cubicBezTo>
                    <a:pt x="611" y="548"/>
                    <a:pt x="611" y="548"/>
                    <a:pt x="611" y="548"/>
                  </a:cubicBezTo>
                  <a:cubicBezTo>
                    <a:pt x="611" y="548"/>
                    <a:pt x="805" y="709"/>
                    <a:pt x="897" y="782"/>
                  </a:cubicBezTo>
                  <a:cubicBezTo>
                    <a:pt x="901" y="784"/>
                    <a:pt x="906" y="784"/>
                    <a:pt x="909" y="781"/>
                  </a:cubicBezTo>
                  <a:cubicBezTo>
                    <a:pt x="1034" y="681"/>
                    <a:pt x="1195" y="548"/>
                    <a:pt x="1195" y="548"/>
                  </a:cubicBez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03784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sp>
        <p:nvSpPr>
          <p:cNvPr id="166" name="Google Shape;166;p11"/>
          <p:cNvSpPr txBox="1"/>
          <p:nvPr/>
        </p:nvSpPr>
        <p:spPr>
          <a:xfrm>
            <a:off x="0" y="3889247"/>
            <a:ext cx="7218947" cy="1511809"/>
          </a:xfrm>
          <a:prstGeom prst="rect">
            <a:avLst/>
          </a:prstGeom>
          <a:noFill/>
          <a:ln>
            <a:noFill/>
          </a:ln>
        </p:spPr>
        <p:txBody>
          <a:bodyPr spcFirstLastPara="1" wrap="square" lIns="0" tIns="45700" rIns="91425" bIns="45700" anchor="t" anchorCtr="0">
            <a:normAutofit/>
          </a:bodyPr>
          <a:lstStyle/>
          <a:p>
            <a:pPr marL="0" marR="0" lvl="0" indent="0" algn="ctr" rtl="0">
              <a:lnSpc>
                <a:spcPct val="120000"/>
              </a:lnSpc>
              <a:spcBef>
                <a:spcPts val="0"/>
              </a:spcBef>
              <a:spcAft>
                <a:spcPts val="0"/>
              </a:spcAft>
              <a:buClr>
                <a:srgbClr val="000000"/>
              </a:buClr>
              <a:buSzPts val="3080"/>
              <a:buFont typeface="Calibri"/>
              <a:buNone/>
            </a:pPr>
            <a:endParaRPr dirty="0">
              <a:solidFill>
                <a:schemeClr val="bg1"/>
              </a:solidFill>
            </a:endParaRPr>
          </a:p>
        </p:txBody>
      </p:sp>
      <p:sp>
        <p:nvSpPr>
          <p:cNvPr id="6" name="Picture Placeholder 5">
            <a:extLst>
              <a:ext uri="{FF2B5EF4-FFF2-40B4-BE49-F238E27FC236}">
                <a16:creationId xmlns:a16="http://schemas.microsoft.com/office/drawing/2014/main" id="{CE77F74F-A2A0-055B-90E8-88180C10BD3F}"/>
              </a:ext>
            </a:extLst>
          </p:cNvPr>
          <p:cNvSpPr>
            <a:spLocks noGrp="1"/>
          </p:cNvSpPr>
          <p:nvPr>
            <p:ph type="pic" sz="quarter" idx="14"/>
          </p:nvPr>
        </p:nvSpPr>
        <p:spPr/>
        <p:txBody>
          <a:bodyPr/>
          <a:lstStyle/>
          <a:p>
            <a:endParaRPr lang="en-CA" sz="2400" b="1" i="0" u="none" strike="noStrike" dirty="0">
              <a:solidFill>
                <a:schemeClr val="tx1"/>
              </a:solidFill>
              <a:effectLst/>
              <a:latin typeface="Calibri" panose="020F0502020204030204" pitchFamily="34" charset="0"/>
            </a:endParaRPr>
          </a:p>
          <a:p>
            <a:endParaRPr lang="en-CA" sz="2400" b="1" i="0" u="none" strike="noStrike" dirty="0">
              <a:solidFill>
                <a:schemeClr val="tx1"/>
              </a:solidFill>
              <a:effectLst/>
              <a:latin typeface="Calibri" panose="020F0502020204030204" pitchFamily="34" charset="0"/>
            </a:endParaRPr>
          </a:p>
          <a:p>
            <a:r>
              <a:rPr lang="en-CA" sz="2400" b="1" i="0" u="none" strike="noStrike" dirty="0">
                <a:solidFill>
                  <a:schemeClr val="tx1"/>
                </a:solidFill>
                <a:effectLst/>
                <a:latin typeface="Calibri" panose="020F0502020204030204" pitchFamily="34" charset="0"/>
              </a:rPr>
              <a:t>The development of the Roadmap was funded MSD for Mothers and the Bill &amp; Melinda Gates Foundation </a:t>
            </a:r>
          </a:p>
          <a:p>
            <a:endParaRPr lang="en-US" sz="1600" b="1" i="0" dirty="0">
              <a:solidFill>
                <a:schemeClr val="tx1"/>
              </a:solidFill>
              <a:effectLst/>
              <a:latin typeface="Segoe UI" panose="020B0502040204020203" pitchFamily="34" charset="0"/>
            </a:endParaRPr>
          </a:p>
          <a:p>
            <a:endParaRPr lang="es-AR" sz="2400" dirty="0">
              <a:solidFill>
                <a:schemeClr val="tx1"/>
              </a:solidFill>
            </a:endParaRPr>
          </a:p>
        </p:txBody>
      </p:sp>
      <p:sp>
        <p:nvSpPr>
          <p:cNvPr id="2" name="Title 1">
            <a:extLst>
              <a:ext uri="{FF2B5EF4-FFF2-40B4-BE49-F238E27FC236}">
                <a16:creationId xmlns:a16="http://schemas.microsoft.com/office/drawing/2014/main" id="{7A260C75-FA03-4241-C4B9-F8177FA4A73A}"/>
              </a:ext>
            </a:extLst>
          </p:cNvPr>
          <p:cNvSpPr>
            <a:spLocks noGrp="1"/>
          </p:cNvSpPr>
          <p:nvPr>
            <p:ph type="title"/>
          </p:nvPr>
        </p:nvSpPr>
        <p:spPr/>
        <p:txBody>
          <a:bodyPr/>
          <a:lstStyle/>
          <a:p>
            <a:pPr algn="ctr"/>
            <a:r>
              <a:rPr lang="en-CA" sz="4400" b="1" i="0" u="none" strike="noStrike" cap="none" dirty="0">
                <a:latin typeface="Calibri"/>
                <a:ea typeface="Calibri"/>
                <a:cs typeface="Calibri"/>
                <a:sym typeface="Calibri"/>
              </a:rPr>
              <a:t>Thank you!</a:t>
            </a:r>
            <a:endParaRPr lang="es-AR" sz="4400" dirty="0"/>
          </a:p>
        </p:txBody>
      </p:sp>
      <p:pic>
        <p:nvPicPr>
          <p:cNvPr id="4" name="Picture 2" descr="BMGF – The Bill &amp; Melinda Gates Foundation | Plan S">
            <a:extLst>
              <a:ext uri="{FF2B5EF4-FFF2-40B4-BE49-F238E27FC236}">
                <a16:creationId xmlns:a16="http://schemas.microsoft.com/office/drawing/2014/main" id="{6BAD64E2-8F59-4001-8110-0A9690E0F795}"/>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010216" y="4204554"/>
            <a:ext cx="2740257" cy="109716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MSD for Mothers">
            <a:extLst>
              <a:ext uri="{FF2B5EF4-FFF2-40B4-BE49-F238E27FC236}">
                <a16:creationId xmlns:a16="http://schemas.microsoft.com/office/drawing/2014/main" id="{7D548172-99E9-438D-9D57-B613EB5B3061}"/>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488352" y="4276104"/>
            <a:ext cx="2721190" cy="95407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a:extLst>
              <a:ext uri="{FF2B5EF4-FFF2-40B4-BE49-F238E27FC236}">
                <a16:creationId xmlns:a16="http://schemas.microsoft.com/office/drawing/2014/main" id="{B427D69F-4B0F-0D7E-F055-5267AEF0E2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3" name="Object 62" hidden="1">
                        <a:extLst>
                          <a:ext uri="{FF2B5EF4-FFF2-40B4-BE49-F238E27FC236}">
                            <a16:creationId xmlns:a16="http://schemas.microsoft.com/office/drawing/2014/main" id="{B427D69F-4B0F-0D7E-F055-5267AEF0E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418641" y="296885"/>
            <a:ext cx="10935159" cy="954387"/>
          </a:xfrm>
        </p:spPr>
        <p:txBody>
          <a:bodyPr vert="horz"/>
          <a:lstStyle/>
          <a:p>
            <a:pPr marR="0" lvl="0" fontAlgn="auto">
              <a:buClrTx/>
              <a:buSzTx/>
              <a:tabLst/>
              <a:defRPr/>
            </a:pPr>
            <a:r>
              <a:rPr lang="en-US" sz="2400" b="1" dirty="0">
                <a:solidFill>
                  <a:schemeClr val="accent2"/>
                </a:solidFill>
              </a:rPr>
              <a:t>Why do we need a PPH Roadmap? </a:t>
            </a:r>
          </a:p>
        </p:txBody>
      </p:sp>
      <p:sp>
        <p:nvSpPr>
          <p:cNvPr id="4" name="BcgText 4"/>
          <p:cNvSpPr txBox="1"/>
          <p:nvPr/>
        </p:nvSpPr>
        <p:spPr>
          <a:xfrm>
            <a:off x="9046799" y="3265713"/>
            <a:ext cx="2687997" cy="349702"/>
          </a:xfrm>
          <a:prstGeom prst="rect">
            <a:avLst/>
          </a:prstGeom>
        </p:spPr>
        <p:txBody>
          <a:bodyPr vert="horz" wrap="square" lIns="0" tIns="72000" rIns="0" bIns="0" rtlCol="0">
            <a:no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2060"/>
                </a:solidFill>
                <a:effectLst/>
                <a:uLnTx/>
                <a:uFillTx/>
                <a:latin typeface="+mn-lt"/>
                <a:ea typeface="Cambria" panose="02040503050406030204" pitchFamily="18" charset="0"/>
                <a:cs typeface="+mn-cs"/>
              </a:rPr>
              <a:t>Implementation barriers</a:t>
            </a:r>
          </a:p>
        </p:txBody>
      </p:sp>
      <p:sp>
        <p:nvSpPr>
          <p:cNvPr id="5" name="BcgText 3"/>
          <p:cNvSpPr txBox="1"/>
          <p:nvPr/>
        </p:nvSpPr>
        <p:spPr>
          <a:xfrm>
            <a:off x="5965774" y="3265713"/>
            <a:ext cx="3003903" cy="349702"/>
          </a:xfrm>
          <a:prstGeom prst="rect">
            <a:avLst/>
          </a:prstGeom>
        </p:spPr>
        <p:txBody>
          <a:bodyPr vert="horz" wrap="square" lIns="0" tIns="72000" rIns="0" bIns="0" rtlCol="0">
            <a:no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2060"/>
                </a:solidFill>
                <a:effectLst/>
                <a:uLnTx/>
                <a:uFillTx/>
                <a:latin typeface="+mn-lt"/>
                <a:ea typeface="Cambria" panose="02040503050406030204" pitchFamily="18" charset="0"/>
                <a:cs typeface="+mn-cs"/>
              </a:rPr>
              <a:t>Inconsistencies in guidance</a:t>
            </a:r>
          </a:p>
        </p:txBody>
      </p:sp>
      <p:sp>
        <p:nvSpPr>
          <p:cNvPr id="6" name="BcgText 2"/>
          <p:cNvSpPr txBox="1"/>
          <p:nvPr/>
        </p:nvSpPr>
        <p:spPr>
          <a:xfrm>
            <a:off x="3435600" y="3265713"/>
            <a:ext cx="2516400" cy="349702"/>
          </a:xfrm>
          <a:prstGeom prst="rect">
            <a:avLst/>
          </a:prstGeom>
        </p:spPr>
        <p:txBody>
          <a:bodyPr vert="horz" wrap="square" lIns="0" tIns="72000" rIns="0" bIns="0" rtlCol="0">
            <a:no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002060"/>
                </a:solidFill>
                <a:effectLst/>
                <a:uLnTx/>
                <a:uFillTx/>
                <a:latin typeface="+mn-lt"/>
                <a:ea typeface="Cambria" panose="02040503050406030204" pitchFamily="18" charset="0"/>
                <a:cs typeface="+mn-cs"/>
              </a:rPr>
              <a:t>Innovation deficit</a:t>
            </a:r>
          </a:p>
        </p:txBody>
      </p:sp>
      <p:sp>
        <p:nvSpPr>
          <p:cNvPr id="7" name="BcgText 1"/>
          <p:cNvSpPr txBox="1"/>
          <p:nvPr/>
        </p:nvSpPr>
        <p:spPr>
          <a:xfrm>
            <a:off x="630000" y="3265713"/>
            <a:ext cx="2516400" cy="349702"/>
          </a:xfrm>
          <a:prstGeom prst="rect">
            <a:avLst/>
          </a:prstGeom>
        </p:spPr>
        <p:txBody>
          <a:bodyPr vert="horz" wrap="square" lIns="0" tIns="72000" rIns="0" bIns="0" rtlCol="0">
            <a:no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002060"/>
                </a:solidFill>
                <a:effectLst/>
                <a:uLnTx/>
                <a:uFillTx/>
                <a:latin typeface="+mn-lt"/>
                <a:ea typeface="Cambria" panose="02040503050406030204" pitchFamily="18" charset="0"/>
                <a:cs typeface="+mn-cs"/>
              </a:rPr>
              <a:t>Public health needs</a:t>
            </a:r>
          </a:p>
        </p:txBody>
      </p:sp>
      <p:grpSp>
        <p:nvGrpSpPr>
          <p:cNvPr id="20" name="bcgIcons_Geopolitics ">
            <a:extLst>
              <a:ext uri="{FF2B5EF4-FFF2-40B4-BE49-F238E27FC236}">
                <a16:creationId xmlns:a16="http://schemas.microsoft.com/office/drawing/2014/main" id="{134ADD31-9A94-8902-4453-80A3A0C73EA4}"/>
              </a:ext>
            </a:extLst>
          </p:cNvPr>
          <p:cNvGrpSpPr>
            <a:grpSpLocks noChangeAspect="1"/>
          </p:cNvGrpSpPr>
          <p:nvPr/>
        </p:nvGrpSpPr>
        <p:grpSpPr bwMode="auto">
          <a:xfrm>
            <a:off x="6810490" y="1223278"/>
            <a:ext cx="1371600" cy="1372871"/>
            <a:chOff x="1682" y="0"/>
            <a:chExt cx="4316" cy="4320"/>
          </a:xfrm>
        </p:grpSpPr>
        <p:sp>
          <p:nvSpPr>
            <p:cNvPr id="21" name="AutoShape 3">
              <a:extLst>
                <a:ext uri="{FF2B5EF4-FFF2-40B4-BE49-F238E27FC236}">
                  <a16:creationId xmlns:a16="http://schemas.microsoft.com/office/drawing/2014/main" id="{A5D18BBB-5AFE-D313-1264-977078D7900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5">
              <a:extLst>
                <a:ext uri="{FF2B5EF4-FFF2-40B4-BE49-F238E27FC236}">
                  <a16:creationId xmlns:a16="http://schemas.microsoft.com/office/drawing/2014/main" id="{F7C0C9D7-E5DC-C58A-38CC-F062982D6537}"/>
                </a:ext>
              </a:extLst>
            </p:cNvPr>
            <p:cNvSpPr>
              <a:spLocks noEditPoints="1"/>
            </p:cNvSpPr>
            <p:nvPr/>
          </p:nvSpPr>
          <p:spPr bwMode="auto">
            <a:xfrm>
              <a:off x="2295" y="611"/>
              <a:ext cx="3094" cy="3098"/>
            </a:xfrm>
            <a:custGeom>
              <a:avLst/>
              <a:gdLst>
                <a:gd name="T0" fmla="*/ 769 w 1652"/>
                <a:gd name="T1" fmla="*/ 804 h 1652"/>
                <a:gd name="T2" fmla="*/ 382 w 1652"/>
                <a:gd name="T3" fmla="*/ 579 h 1652"/>
                <a:gd name="T4" fmla="*/ 475 w 1652"/>
                <a:gd name="T5" fmla="*/ 375 h 1652"/>
                <a:gd name="T6" fmla="*/ 804 w 1652"/>
                <a:gd name="T7" fmla="*/ 452 h 1652"/>
                <a:gd name="T8" fmla="*/ 882 w 1652"/>
                <a:gd name="T9" fmla="*/ 372 h 1652"/>
                <a:gd name="T10" fmla="*/ 1074 w 1652"/>
                <a:gd name="T11" fmla="*/ 339 h 1652"/>
                <a:gd name="T12" fmla="*/ 909 w 1652"/>
                <a:gd name="T13" fmla="*/ 4 h 1652"/>
                <a:gd name="T14" fmla="*/ 848 w 1652"/>
                <a:gd name="T15" fmla="*/ 338 h 1652"/>
                <a:gd name="T16" fmla="*/ 1251 w 1652"/>
                <a:gd name="T17" fmla="*/ 490 h 1652"/>
                <a:gd name="T18" fmla="*/ 1084 w 1652"/>
                <a:gd name="T19" fmla="*/ 395 h 1652"/>
                <a:gd name="T20" fmla="*/ 848 w 1652"/>
                <a:gd name="T21" fmla="*/ 452 h 1652"/>
                <a:gd name="T22" fmla="*/ 883 w 1652"/>
                <a:gd name="T23" fmla="*/ 804 h 1652"/>
                <a:gd name="T24" fmla="*/ 1290 w 1652"/>
                <a:gd name="T25" fmla="*/ 770 h 1652"/>
                <a:gd name="T26" fmla="*/ 589 w 1652"/>
                <a:gd name="T27" fmla="*/ 848 h 1652"/>
                <a:gd name="T28" fmla="*/ 427 w 1652"/>
                <a:gd name="T29" fmla="*/ 1252 h 1652"/>
                <a:gd name="T30" fmla="*/ 647 w 1652"/>
                <a:gd name="T31" fmla="*/ 1245 h 1652"/>
                <a:gd name="T32" fmla="*/ 804 w 1652"/>
                <a:gd name="T33" fmla="*/ 883 h 1652"/>
                <a:gd name="T34" fmla="*/ 589 w 1652"/>
                <a:gd name="T35" fmla="*/ 848 h 1652"/>
                <a:gd name="T36" fmla="*/ 1256 w 1652"/>
                <a:gd name="T37" fmla="*/ 848 h 1652"/>
                <a:gd name="T38" fmla="*/ 848 w 1652"/>
                <a:gd name="T39" fmla="*/ 883 h 1652"/>
                <a:gd name="T40" fmla="*/ 1005 w 1652"/>
                <a:gd name="T41" fmla="*/ 1245 h 1652"/>
                <a:gd name="T42" fmla="*/ 1225 w 1652"/>
                <a:gd name="T43" fmla="*/ 1252 h 1652"/>
                <a:gd name="T44" fmla="*/ 1379 w 1652"/>
                <a:gd name="T45" fmla="*/ 339 h 1652"/>
                <a:gd name="T46" fmla="*/ 1334 w 1652"/>
                <a:gd name="T47" fmla="*/ 769 h 1652"/>
                <a:gd name="T48" fmla="*/ 1652 w 1652"/>
                <a:gd name="T49" fmla="*/ 804 h 1652"/>
                <a:gd name="T50" fmla="*/ 1376 w 1652"/>
                <a:gd name="T51" fmla="*/ 306 h 1652"/>
                <a:gd name="T52" fmla="*/ 1151 w 1652"/>
                <a:gd name="T53" fmla="*/ 1421 h 1652"/>
                <a:gd name="T54" fmla="*/ 1166 w 1652"/>
                <a:gd name="T55" fmla="*/ 1319 h 1652"/>
                <a:gd name="T56" fmla="*/ 848 w 1652"/>
                <a:gd name="T57" fmla="*/ 1435 h 1652"/>
                <a:gd name="T58" fmla="*/ 909 w 1652"/>
                <a:gd name="T59" fmla="*/ 1648 h 1652"/>
                <a:gd name="T60" fmla="*/ 1180 w 1652"/>
                <a:gd name="T61" fmla="*/ 193 h 1652"/>
                <a:gd name="T62" fmla="*/ 1360 w 1652"/>
                <a:gd name="T63" fmla="*/ 265 h 1652"/>
                <a:gd name="T64" fmla="*/ 1042 w 1652"/>
                <a:gd name="T65" fmla="*/ 29 h 1652"/>
                <a:gd name="T66" fmla="*/ 1274 w 1652"/>
                <a:gd name="T67" fmla="*/ 1352 h 1652"/>
                <a:gd name="T68" fmla="*/ 1225 w 1652"/>
                <a:gd name="T69" fmla="*/ 1374 h 1652"/>
                <a:gd name="T70" fmla="*/ 1042 w 1652"/>
                <a:gd name="T71" fmla="*/ 1623 h 1652"/>
                <a:gd name="T72" fmla="*/ 1274 w 1652"/>
                <a:gd name="T73" fmla="*/ 1352 h 1652"/>
                <a:gd name="T74" fmla="*/ 427 w 1652"/>
                <a:gd name="T75" fmla="*/ 1374 h 1652"/>
                <a:gd name="T76" fmla="*/ 378 w 1652"/>
                <a:gd name="T77" fmla="*/ 1352 h 1652"/>
                <a:gd name="T78" fmla="*/ 610 w 1652"/>
                <a:gd name="T79" fmla="*/ 1623 h 1652"/>
                <a:gd name="T80" fmla="*/ 650 w 1652"/>
                <a:gd name="T81" fmla="*/ 1289 h 1652"/>
                <a:gd name="T82" fmla="*/ 468 w 1652"/>
                <a:gd name="T83" fmla="*/ 1357 h 1652"/>
                <a:gd name="T84" fmla="*/ 743 w 1652"/>
                <a:gd name="T85" fmla="*/ 1648 h 1652"/>
                <a:gd name="T86" fmla="*/ 804 w 1652"/>
                <a:gd name="T87" fmla="*/ 1435 h 1652"/>
                <a:gd name="T88" fmla="*/ 1370 w 1652"/>
                <a:gd name="T89" fmla="*/ 848 h 1652"/>
                <a:gd name="T90" fmla="*/ 1267 w 1652"/>
                <a:gd name="T91" fmla="*/ 1267 h 1652"/>
                <a:gd name="T92" fmla="*/ 1440 w 1652"/>
                <a:gd name="T93" fmla="*/ 1378 h 1652"/>
                <a:gd name="T94" fmla="*/ 1370 w 1652"/>
                <a:gd name="T95" fmla="*/ 848 h 1652"/>
                <a:gd name="T96" fmla="*/ 338 w 1652"/>
                <a:gd name="T97" fmla="*/ 575 h 1652"/>
                <a:gd name="T98" fmla="*/ 365 w 1652"/>
                <a:gd name="T99" fmla="*/ 342 h 1652"/>
                <a:gd name="T100" fmla="*/ 0 w 1652"/>
                <a:gd name="T101" fmla="*/ 804 h 1652"/>
                <a:gd name="T102" fmla="*/ 385 w 1652"/>
                <a:gd name="T103" fmla="*/ 1267 h 1652"/>
                <a:gd name="T104" fmla="*/ 90 w 1652"/>
                <a:gd name="T105" fmla="*/ 848 h 1652"/>
                <a:gd name="T106" fmla="*/ 212 w 1652"/>
                <a:gd name="T107" fmla="*/ 1378 h 1652"/>
                <a:gd name="T108" fmla="*/ 385 w 1652"/>
                <a:gd name="T109" fmla="*/ 1267 h 1652"/>
                <a:gd name="T110" fmla="*/ 426 w 1652"/>
                <a:gd name="T111" fmla="*/ 278 h 1652"/>
                <a:gd name="T112" fmla="*/ 463 w 1652"/>
                <a:gd name="T113" fmla="*/ 209 h 1652"/>
                <a:gd name="T114" fmla="*/ 244 w 1652"/>
                <a:gd name="T115" fmla="*/ 241 h 1652"/>
                <a:gd name="T116" fmla="*/ 804 w 1652"/>
                <a:gd name="T117" fmla="*/ 0 h 1652"/>
                <a:gd name="T118" fmla="*/ 501 w 1652"/>
                <a:gd name="T119" fmla="*/ 231 h 1652"/>
                <a:gd name="T120" fmla="*/ 486 w 1652"/>
                <a:gd name="T121" fmla="*/ 333 h 1652"/>
                <a:gd name="T122" fmla="*/ 804 w 1652"/>
                <a:gd name="T123" fmla="*/ 338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2" h="1652">
                  <a:moveTo>
                    <a:pt x="804" y="769"/>
                  </a:moveTo>
                  <a:cubicBezTo>
                    <a:pt x="788" y="775"/>
                    <a:pt x="775" y="788"/>
                    <a:pt x="769" y="804"/>
                  </a:cubicBezTo>
                  <a:cubicBezTo>
                    <a:pt x="589" y="804"/>
                    <a:pt x="589" y="804"/>
                    <a:pt x="589" y="804"/>
                  </a:cubicBezTo>
                  <a:cubicBezTo>
                    <a:pt x="579" y="690"/>
                    <a:pt x="493" y="598"/>
                    <a:pt x="382" y="579"/>
                  </a:cubicBezTo>
                  <a:cubicBezTo>
                    <a:pt x="393" y="516"/>
                    <a:pt x="408" y="456"/>
                    <a:pt x="427" y="400"/>
                  </a:cubicBezTo>
                  <a:cubicBezTo>
                    <a:pt x="446" y="400"/>
                    <a:pt x="464" y="390"/>
                    <a:pt x="475" y="375"/>
                  </a:cubicBezTo>
                  <a:cubicBezTo>
                    <a:pt x="567" y="398"/>
                    <a:pt x="666" y="412"/>
                    <a:pt x="769" y="416"/>
                  </a:cubicBezTo>
                  <a:cubicBezTo>
                    <a:pt x="775" y="432"/>
                    <a:pt x="788" y="446"/>
                    <a:pt x="804" y="452"/>
                  </a:cubicBezTo>
                  <a:lnTo>
                    <a:pt x="804" y="769"/>
                  </a:lnTo>
                  <a:close/>
                  <a:moveTo>
                    <a:pt x="882" y="372"/>
                  </a:moveTo>
                  <a:cubicBezTo>
                    <a:pt x="948" y="369"/>
                    <a:pt x="1012" y="363"/>
                    <a:pt x="1074" y="352"/>
                  </a:cubicBezTo>
                  <a:cubicBezTo>
                    <a:pt x="1074" y="348"/>
                    <a:pt x="1074" y="343"/>
                    <a:pt x="1074" y="339"/>
                  </a:cubicBezTo>
                  <a:cubicBezTo>
                    <a:pt x="1074" y="287"/>
                    <a:pt x="1100" y="240"/>
                    <a:pt x="1140" y="213"/>
                  </a:cubicBezTo>
                  <a:cubicBezTo>
                    <a:pt x="1075" y="104"/>
                    <a:pt x="995" y="32"/>
                    <a:pt x="909" y="4"/>
                  </a:cubicBezTo>
                  <a:cubicBezTo>
                    <a:pt x="889" y="2"/>
                    <a:pt x="869" y="1"/>
                    <a:pt x="848" y="0"/>
                  </a:cubicBezTo>
                  <a:cubicBezTo>
                    <a:pt x="848" y="338"/>
                    <a:pt x="848" y="338"/>
                    <a:pt x="848" y="338"/>
                  </a:cubicBezTo>
                  <a:cubicBezTo>
                    <a:pt x="864" y="344"/>
                    <a:pt x="876" y="356"/>
                    <a:pt x="882" y="372"/>
                  </a:cubicBezTo>
                  <a:close/>
                  <a:moveTo>
                    <a:pt x="1251" y="490"/>
                  </a:moveTo>
                  <a:cubicBezTo>
                    <a:pt x="1243" y="491"/>
                    <a:pt x="1235" y="492"/>
                    <a:pt x="1227" y="492"/>
                  </a:cubicBezTo>
                  <a:cubicBezTo>
                    <a:pt x="1162" y="492"/>
                    <a:pt x="1107" y="452"/>
                    <a:pt x="1084" y="395"/>
                  </a:cubicBezTo>
                  <a:cubicBezTo>
                    <a:pt x="1020" y="406"/>
                    <a:pt x="952" y="413"/>
                    <a:pt x="883" y="416"/>
                  </a:cubicBezTo>
                  <a:cubicBezTo>
                    <a:pt x="877" y="432"/>
                    <a:pt x="864" y="446"/>
                    <a:pt x="848" y="452"/>
                  </a:cubicBezTo>
                  <a:cubicBezTo>
                    <a:pt x="848" y="769"/>
                    <a:pt x="848" y="769"/>
                    <a:pt x="848" y="769"/>
                  </a:cubicBezTo>
                  <a:cubicBezTo>
                    <a:pt x="864" y="775"/>
                    <a:pt x="877" y="788"/>
                    <a:pt x="883" y="804"/>
                  </a:cubicBezTo>
                  <a:cubicBezTo>
                    <a:pt x="1256" y="804"/>
                    <a:pt x="1256" y="804"/>
                    <a:pt x="1256" y="804"/>
                  </a:cubicBezTo>
                  <a:cubicBezTo>
                    <a:pt x="1262" y="788"/>
                    <a:pt x="1274" y="776"/>
                    <a:pt x="1290" y="770"/>
                  </a:cubicBezTo>
                  <a:cubicBezTo>
                    <a:pt x="1286" y="672"/>
                    <a:pt x="1273" y="578"/>
                    <a:pt x="1251" y="490"/>
                  </a:cubicBezTo>
                  <a:close/>
                  <a:moveTo>
                    <a:pt x="589" y="848"/>
                  </a:moveTo>
                  <a:cubicBezTo>
                    <a:pt x="579" y="962"/>
                    <a:pt x="493" y="1054"/>
                    <a:pt x="382" y="1073"/>
                  </a:cubicBezTo>
                  <a:cubicBezTo>
                    <a:pt x="393" y="1136"/>
                    <a:pt x="408" y="1196"/>
                    <a:pt x="427" y="1252"/>
                  </a:cubicBezTo>
                  <a:cubicBezTo>
                    <a:pt x="446" y="1252"/>
                    <a:pt x="464" y="1262"/>
                    <a:pt x="475" y="1277"/>
                  </a:cubicBezTo>
                  <a:cubicBezTo>
                    <a:pt x="530" y="1263"/>
                    <a:pt x="588" y="1252"/>
                    <a:pt x="647" y="1245"/>
                  </a:cubicBezTo>
                  <a:cubicBezTo>
                    <a:pt x="653" y="1159"/>
                    <a:pt x="719" y="1090"/>
                    <a:pt x="804" y="1079"/>
                  </a:cubicBezTo>
                  <a:cubicBezTo>
                    <a:pt x="804" y="883"/>
                    <a:pt x="804" y="883"/>
                    <a:pt x="804" y="883"/>
                  </a:cubicBezTo>
                  <a:cubicBezTo>
                    <a:pt x="788" y="877"/>
                    <a:pt x="775" y="864"/>
                    <a:pt x="769" y="848"/>
                  </a:cubicBezTo>
                  <a:lnTo>
                    <a:pt x="589" y="848"/>
                  </a:lnTo>
                  <a:close/>
                  <a:moveTo>
                    <a:pt x="1290" y="882"/>
                  </a:moveTo>
                  <a:cubicBezTo>
                    <a:pt x="1274" y="876"/>
                    <a:pt x="1262" y="864"/>
                    <a:pt x="1256" y="848"/>
                  </a:cubicBezTo>
                  <a:cubicBezTo>
                    <a:pt x="883" y="848"/>
                    <a:pt x="883" y="848"/>
                    <a:pt x="883" y="848"/>
                  </a:cubicBezTo>
                  <a:cubicBezTo>
                    <a:pt x="877" y="864"/>
                    <a:pt x="864" y="877"/>
                    <a:pt x="848" y="883"/>
                  </a:cubicBezTo>
                  <a:cubicBezTo>
                    <a:pt x="848" y="1079"/>
                    <a:pt x="848" y="1079"/>
                    <a:pt x="848" y="1079"/>
                  </a:cubicBezTo>
                  <a:cubicBezTo>
                    <a:pt x="933" y="1090"/>
                    <a:pt x="999" y="1159"/>
                    <a:pt x="1005" y="1245"/>
                  </a:cubicBezTo>
                  <a:cubicBezTo>
                    <a:pt x="1064" y="1252"/>
                    <a:pt x="1122" y="1263"/>
                    <a:pt x="1177" y="1277"/>
                  </a:cubicBezTo>
                  <a:cubicBezTo>
                    <a:pt x="1188" y="1262"/>
                    <a:pt x="1206" y="1252"/>
                    <a:pt x="1225" y="1252"/>
                  </a:cubicBezTo>
                  <a:cubicBezTo>
                    <a:pt x="1263" y="1140"/>
                    <a:pt x="1285" y="1014"/>
                    <a:pt x="1290" y="882"/>
                  </a:cubicBezTo>
                  <a:close/>
                  <a:moveTo>
                    <a:pt x="1379" y="339"/>
                  </a:moveTo>
                  <a:cubicBezTo>
                    <a:pt x="1379" y="399"/>
                    <a:pt x="1344" y="452"/>
                    <a:pt x="1293" y="477"/>
                  </a:cubicBezTo>
                  <a:cubicBezTo>
                    <a:pt x="1316" y="568"/>
                    <a:pt x="1330" y="667"/>
                    <a:pt x="1334" y="769"/>
                  </a:cubicBezTo>
                  <a:cubicBezTo>
                    <a:pt x="1350" y="775"/>
                    <a:pt x="1363" y="788"/>
                    <a:pt x="1370" y="804"/>
                  </a:cubicBezTo>
                  <a:cubicBezTo>
                    <a:pt x="1652" y="804"/>
                    <a:pt x="1652" y="804"/>
                    <a:pt x="1652" y="804"/>
                  </a:cubicBezTo>
                  <a:cubicBezTo>
                    <a:pt x="1646" y="600"/>
                    <a:pt x="1567" y="415"/>
                    <a:pt x="1440" y="274"/>
                  </a:cubicBezTo>
                  <a:cubicBezTo>
                    <a:pt x="1419" y="285"/>
                    <a:pt x="1398" y="296"/>
                    <a:pt x="1376" y="306"/>
                  </a:cubicBezTo>
                  <a:cubicBezTo>
                    <a:pt x="1378" y="317"/>
                    <a:pt x="1379" y="328"/>
                    <a:pt x="1379" y="339"/>
                  </a:cubicBezTo>
                  <a:close/>
                  <a:moveTo>
                    <a:pt x="1151" y="1421"/>
                  </a:moveTo>
                  <a:cubicBezTo>
                    <a:pt x="1163" y="1401"/>
                    <a:pt x="1174" y="1379"/>
                    <a:pt x="1184" y="1357"/>
                  </a:cubicBezTo>
                  <a:cubicBezTo>
                    <a:pt x="1174" y="1347"/>
                    <a:pt x="1167" y="1334"/>
                    <a:pt x="1166" y="1319"/>
                  </a:cubicBezTo>
                  <a:cubicBezTo>
                    <a:pt x="1113" y="1306"/>
                    <a:pt x="1059" y="1296"/>
                    <a:pt x="1002" y="1289"/>
                  </a:cubicBezTo>
                  <a:cubicBezTo>
                    <a:pt x="988" y="1366"/>
                    <a:pt x="926" y="1425"/>
                    <a:pt x="848" y="1435"/>
                  </a:cubicBezTo>
                  <a:cubicBezTo>
                    <a:pt x="848" y="1652"/>
                    <a:pt x="848" y="1652"/>
                    <a:pt x="848" y="1652"/>
                  </a:cubicBezTo>
                  <a:cubicBezTo>
                    <a:pt x="869" y="1651"/>
                    <a:pt x="889" y="1650"/>
                    <a:pt x="909" y="1648"/>
                  </a:cubicBezTo>
                  <a:cubicBezTo>
                    <a:pt x="1000" y="1618"/>
                    <a:pt x="1083" y="1540"/>
                    <a:pt x="1151" y="1421"/>
                  </a:cubicBezTo>
                  <a:close/>
                  <a:moveTo>
                    <a:pt x="1180" y="193"/>
                  </a:moveTo>
                  <a:cubicBezTo>
                    <a:pt x="1195" y="189"/>
                    <a:pt x="1210" y="186"/>
                    <a:pt x="1227" y="186"/>
                  </a:cubicBezTo>
                  <a:cubicBezTo>
                    <a:pt x="1284" y="186"/>
                    <a:pt x="1334" y="218"/>
                    <a:pt x="1360" y="265"/>
                  </a:cubicBezTo>
                  <a:cubicBezTo>
                    <a:pt x="1377" y="257"/>
                    <a:pt x="1393" y="249"/>
                    <a:pt x="1408" y="241"/>
                  </a:cubicBezTo>
                  <a:cubicBezTo>
                    <a:pt x="1308" y="141"/>
                    <a:pt x="1183" y="67"/>
                    <a:pt x="1042" y="29"/>
                  </a:cubicBezTo>
                  <a:cubicBezTo>
                    <a:pt x="1093" y="69"/>
                    <a:pt x="1139" y="125"/>
                    <a:pt x="1180" y="193"/>
                  </a:cubicBezTo>
                  <a:close/>
                  <a:moveTo>
                    <a:pt x="1274" y="1352"/>
                  </a:moveTo>
                  <a:cubicBezTo>
                    <a:pt x="1262" y="1365"/>
                    <a:pt x="1245" y="1374"/>
                    <a:pt x="1227" y="1374"/>
                  </a:cubicBezTo>
                  <a:cubicBezTo>
                    <a:pt x="1226" y="1374"/>
                    <a:pt x="1225" y="1374"/>
                    <a:pt x="1225" y="1374"/>
                  </a:cubicBezTo>
                  <a:cubicBezTo>
                    <a:pt x="1214" y="1398"/>
                    <a:pt x="1202" y="1421"/>
                    <a:pt x="1189" y="1443"/>
                  </a:cubicBezTo>
                  <a:cubicBezTo>
                    <a:pt x="1146" y="1519"/>
                    <a:pt x="1096" y="1579"/>
                    <a:pt x="1042" y="1623"/>
                  </a:cubicBezTo>
                  <a:cubicBezTo>
                    <a:pt x="1182" y="1585"/>
                    <a:pt x="1308" y="1511"/>
                    <a:pt x="1408" y="1411"/>
                  </a:cubicBezTo>
                  <a:cubicBezTo>
                    <a:pt x="1367" y="1389"/>
                    <a:pt x="1321" y="1369"/>
                    <a:pt x="1274" y="1352"/>
                  </a:cubicBezTo>
                  <a:close/>
                  <a:moveTo>
                    <a:pt x="463" y="1443"/>
                  </a:moveTo>
                  <a:cubicBezTo>
                    <a:pt x="450" y="1421"/>
                    <a:pt x="438" y="1398"/>
                    <a:pt x="427" y="1374"/>
                  </a:cubicBezTo>
                  <a:cubicBezTo>
                    <a:pt x="427" y="1374"/>
                    <a:pt x="426" y="1374"/>
                    <a:pt x="426" y="1374"/>
                  </a:cubicBezTo>
                  <a:cubicBezTo>
                    <a:pt x="407" y="1374"/>
                    <a:pt x="390" y="1365"/>
                    <a:pt x="378" y="1352"/>
                  </a:cubicBezTo>
                  <a:cubicBezTo>
                    <a:pt x="331" y="1369"/>
                    <a:pt x="285" y="1389"/>
                    <a:pt x="244" y="1411"/>
                  </a:cubicBezTo>
                  <a:cubicBezTo>
                    <a:pt x="344" y="1511"/>
                    <a:pt x="470" y="1585"/>
                    <a:pt x="610" y="1623"/>
                  </a:cubicBezTo>
                  <a:cubicBezTo>
                    <a:pt x="556" y="1579"/>
                    <a:pt x="506" y="1519"/>
                    <a:pt x="463" y="1443"/>
                  </a:cubicBezTo>
                  <a:close/>
                  <a:moveTo>
                    <a:pt x="650" y="1289"/>
                  </a:moveTo>
                  <a:cubicBezTo>
                    <a:pt x="593" y="1296"/>
                    <a:pt x="539" y="1306"/>
                    <a:pt x="486" y="1319"/>
                  </a:cubicBezTo>
                  <a:cubicBezTo>
                    <a:pt x="485" y="1334"/>
                    <a:pt x="478" y="1347"/>
                    <a:pt x="468" y="1357"/>
                  </a:cubicBezTo>
                  <a:cubicBezTo>
                    <a:pt x="478" y="1379"/>
                    <a:pt x="489" y="1401"/>
                    <a:pt x="501" y="1421"/>
                  </a:cubicBezTo>
                  <a:cubicBezTo>
                    <a:pt x="569" y="1540"/>
                    <a:pt x="652" y="1618"/>
                    <a:pt x="743" y="1648"/>
                  </a:cubicBezTo>
                  <a:cubicBezTo>
                    <a:pt x="763" y="1650"/>
                    <a:pt x="783" y="1651"/>
                    <a:pt x="804" y="1652"/>
                  </a:cubicBezTo>
                  <a:cubicBezTo>
                    <a:pt x="804" y="1435"/>
                    <a:pt x="804" y="1435"/>
                    <a:pt x="804" y="1435"/>
                  </a:cubicBezTo>
                  <a:cubicBezTo>
                    <a:pt x="726" y="1425"/>
                    <a:pt x="664" y="1366"/>
                    <a:pt x="650" y="1289"/>
                  </a:cubicBezTo>
                  <a:close/>
                  <a:moveTo>
                    <a:pt x="1370" y="848"/>
                  </a:moveTo>
                  <a:cubicBezTo>
                    <a:pt x="1363" y="864"/>
                    <a:pt x="1350" y="877"/>
                    <a:pt x="1334" y="883"/>
                  </a:cubicBezTo>
                  <a:cubicBezTo>
                    <a:pt x="1329" y="1020"/>
                    <a:pt x="1306" y="1151"/>
                    <a:pt x="1267" y="1267"/>
                  </a:cubicBezTo>
                  <a:cubicBezTo>
                    <a:pt x="1279" y="1278"/>
                    <a:pt x="1287" y="1293"/>
                    <a:pt x="1287" y="1310"/>
                  </a:cubicBezTo>
                  <a:cubicBezTo>
                    <a:pt x="1342" y="1329"/>
                    <a:pt x="1393" y="1352"/>
                    <a:pt x="1440" y="1378"/>
                  </a:cubicBezTo>
                  <a:cubicBezTo>
                    <a:pt x="1567" y="1237"/>
                    <a:pt x="1646" y="1052"/>
                    <a:pt x="1652" y="848"/>
                  </a:cubicBezTo>
                  <a:lnTo>
                    <a:pt x="1370" y="848"/>
                  </a:lnTo>
                  <a:close/>
                  <a:moveTo>
                    <a:pt x="90" y="804"/>
                  </a:moveTo>
                  <a:cubicBezTo>
                    <a:pt x="101" y="676"/>
                    <a:pt x="208" y="576"/>
                    <a:pt x="338" y="575"/>
                  </a:cubicBezTo>
                  <a:cubicBezTo>
                    <a:pt x="349" y="509"/>
                    <a:pt x="365" y="445"/>
                    <a:pt x="385" y="385"/>
                  </a:cubicBezTo>
                  <a:cubicBezTo>
                    <a:pt x="373" y="374"/>
                    <a:pt x="365" y="359"/>
                    <a:pt x="365" y="342"/>
                  </a:cubicBezTo>
                  <a:cubicBezTo>
                    <a:pt x="310" y="323"/>
                    <a:pt x="259" y="300"/>
                    <a:pt x="212" y="274"/>
                  </a:cubicBezTo>
                  <a:cubicBezTo>
                    <a:pt x="85" y="415"/>
                    <a:pt x="6" y="600"/>
                    <a:pt x="0" y="804"/>
                  </a:cubicBezTo>
                  <a:lnTo>
                    <a:pt x="90" y="804"/>
                  </a:lnTo>
                  <a:close/>
                  <a:moveTo>
                    <a:pt x="385" y="1267"/>
                  </a:moveTo>
                  <a:cubicBezTo>
                    <a:pt x="365" y="1207"/>
                    <a:pt x="349" y="1143"/>
                    <a:pt x="338" y="1077"/>
                  </a:cubicBezTo>
                  <a:cubicBezTo>
                    <a:pt x="208" y="1076"/>
                    <a:pt x="101" y="976"/>
                    <a:pt x="90" y="848"/>
                  </a:cubicBezTo>
                  <a:cubicBezTo>
                    <a:pt x="0" y="848"/>
                    <a:pt x="0" y="848"/>
                    <a:pt x="0" y="848"/>
                  </a:cubicBezTo>
                  <a:cubicBezTo>
                    <a:pt x="6" y="1052"/>
                    <a:pt x="85" y="1237"/>
                    <a:pt x="212" y="1378"/>
                  </a:cubicBezTo>
                  <a:cubicBezTo>
                    <a:pt x="259" y="1352"/>
                    <a:pt x="310" y="1329"/>
                    <a:pt x="365" y="1310"/>
                  </a:cubicBezTo>
                  <a:cubicBezTo>
                    <a:pt x="365" y="1293"/>
                    <a:pt x="373" y="1278"/>
                    <a:pt x="385" y="1267"/>
                  </a:cubicBezTo>
                  <a:close/>
                  <a:moveTo>
                    <a:pt x="378" y="300"/>
                  </a:moveTo>
                  <a:cubicBezTo>
                    <a:pt x="390" y="287"/>
                    <a:pt x="407" y="278"/>
                    <a:pt x="426" y="278"/>
                  </a:cubicBezTo>
                  <a:cubicBezTo>
                    <a:pt x="426" y="278"/>
                    <a:pt x="427" y="278"/>
                    <a:pt x="427" y="278"/>
                  </a:cubicBezTo>
                  <a:cubicBezTo>
                    <a:pt x="438" y="254"/>
                    <a:pt x="450" y="231"/>
                    <a:pt x="463" y="209"/>
                  </a:cubicBezTo>
                  <a:cubicBezTo>
                    <a:pt x="506" y="133"/>
                    <a:pt x="556" y="73"/>
                    <a:pt x="610" y="29"/>
                  </a:cubicBezTo>
                  <a:cubicBezTo>
                    <a:pt x="470" y="67"/>
                    <a:pt x="344" y="141"/>
                    <a:pt x="244" y="241"/>
                  </a:cubicBezTo>
                  <a:cubicBezTo>
                    <a:pt x="285" y="263"/>
                    <a:pt x="331" y="283"/>
                    <a:pt x="378" y="300"/>
                  </a:cubicBezTo>
                  <a:close/>
                  <a:moveTo>
                    <a:pt x="804" y="0"/>
                  </a:moveTo>
                  <a:cubicBezTo>
                    <a:pt x="783" y="1"/>
                    <a:pt x="763" y="2"/>
                    <a:pt x="743" y="4"/>
                  </a:cubicBezTo>
                  <a:cubicBezTo>
                    <a:pt x="652" y="34"/>
                    <a:pt x="569" y="112"/>
                    <a:pt x="501" y="231"/>
                  </a:cubicBezTo>
                  <a:cubicBezTo>
                    <a:pt x="489" y="251"/>
                    <a:pt x="478" y="273"/>
                    <a:pt x="468" y="295"/>
                  </a:cubicBezTo>
                  <a:cubicBezTo>
                    <a:pt x="478" y="305"/>
                    <a:pt x="485" y="318"/>
                    <a:pt x="486" y="333"/>
                  </a:cubicBezTo>
                  <a:cubicBezTo>
                    <a:pt x="575" y="355"/>
                    <a:pt x="671" y="368"/>
                    <a:pt x="770" y="372"/>
                  </a:cubicBezTo>
                  <a:cubicBezTo>
                    <a:pt x="776" y="356"/>
                    <a:pt x="788" y="344"/>
                    <a:pt x="804" y="338"/>
                  </a:cubicBezTo>
                  <a:lnTo>
                    <a:pt x="804"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a:extLst>
                <a:ext uri="{FF2B5EF4-FFF2-40B4-BE49-F238E27FC236}">
                  <a16:creationId xmlns:a16="http://schemas.microsoft.com/office/drawing/2014/main" id="{B029FB91-7027-A681-25F1-8DCC534A511A}"/>
                </a:ext>
              </a:extLst>
            </p:cNvPr>
            <p:cNvSpPr>
              <a:spLocks noEditPoints="1"/>
            </p:cNvSpPr>
            <p:nvPr/>
          </p:nvSpPr>
          <p:spPr bwMode="auto">
            <a:xfrm>
              <a:off x="2130" y="446"/>
              <a:ext cx="3424" cy="3428"/>
            </a:xfrm>
            <a:custGeom>
              <a:avLst/>
              <a:gdLst>
                <a:gd name="T0" fmla="*/ 268 w 1828"/>
                <a:gd name="T1" fmla="*/ 1560 h 1828"/>
                <a:gd name="T2" fmla="*/ 268 w 1828"/>
                <a:gd name="T3" fmla="*/ 268 h 1828"/>
                <a:gd name="T4" fmla="*/ 1560 w 1828"/>
                <a:gd name="T5" fmla="*/ 268 h 1828"/>
                <a:gd name="T6" fmla="*/ 1560 w 1828"/>
                <a:gd name="T7" fmla="*/ 1560 h 1828"/>
                <a:gd name="T8" fmla="*/ 914 w 1828"/>
                <a:gd name="T9" fmla="*/ 44 h 1828"/>
                <a:gd name="T10" fmla="*/ 914 w 1828"/>
                <a:gd name="T11" fmla="*/ 1784 h 1828"/>
                <a:gd name="T12" fmla="*/ 914 w 1828"/>
                <a:gd name="T13" fmla="*/ 44 h 1828"/>
                <a:gd name="T14" fmla="*/ 989 w 1828"/>
                <a:gd name="T15" fmla="*/ 1335 h 1828"/>
                <a:gd name="T16" fmla="*/ 979 w 1828"/>
                <a:gd name="T17" fmla="*/ 1311 h 1828"/>
                <a:gd name="T18" fmla="*/ 973 w 1828"/>
                <a:gd name="T19" fmla="*/ 1277 h 1828"/>
                <a:gd name="T20" fmla="*/ 976 w 1828"/>
                <a:gd name="T21" fmla="*/ 1277 h 1828"/>
                <a:gd name="T22" fmla="*/ 904 w 1828"/>
                <a:gd name="T23" fmla="*/ 1237 h 1828"/>
                <a:gd name="T24" fmla="*/ 853 w 1828"/>
                <a:gd name="T25" fmla="*/ 1388 h 1828"/>
                <a:gd name="T26" fmla="*/ 856 w 1828"/>
                <a:gd name="T27" fmla="*/ 1440 h 1828"/>
                <a:gd name="T28" fmla="*/ 931 w 1828"/>
                <a:gd name="T29" fmla="*/ 1453 h 1828"/>
                <a:gd name="T30" fmla="*/ 936 w 1828"/>
                <a:gd name="T31" fmla="*/ 1416 h 1828"/>
                <a:gd name="T32" fmla="*/ 981 w 1828"/>
                <a:gd name="T33" fmla="*/ 1392 h 1828"/>
                <a:gd name="T34" fmla="*/ 980 w 1828"/>
                <a:gd name="T35" fmla="*/ 1365 h 1828"/>
                <a:gd name="T36" fmla="*/ 990 w 1828"/>
                <a:gd name="T37" fmla="*/ 1337 h 1828"/>
                <a:gd name="T38" fmla="*/ 359 w 1828"/>
                <a:gd name="T39" fmla="*/ 1052 h 1828"/>
                <a:gd name="T40" fmla="*/ 444 w 1828"/>
                <a:gd name="T41" fmla="*/ 1078 h 1828"/>
                <a:gd name="T42" fmla="*/ 458 w 1828"/>
                <a:gd name="T43" fmla="*/ 1070 h 1828"/>
                <a:gd name="T44" fmla="*/ 481 w 1828"/>
                <a:gd name="T45" fmla="*/ 1016 h 1828"/>
                <a:gd name="T46" fmla="*/ 528 w 1828"/>
                <a:gd name="T47" fmla="*/ 967 h 1828"/>
                <a:gd name="T48" fmla="*/ 558 w 1828"/>
                <a:gd name="T49" fmla="*/ 929 h 1828"/>
                <a:gd name="T50" fmla="*/ 532 w 1828"/>
                <a:gd name="T51" fmla="*/ 880 h 1828"/>
                <a:gd name="T52" fmla="*/ 519 w 1828"/>
                <a:gd name="T53" fmla="*/ 811 h 1828"/>
                <a:gd name="T54" fmla="*/ 417 w 1828"/>
                <a:gd name="T55" fmla="*/ 750 h 1828"/>
                <a:gd name="T56" fmla="*/ 357 w 1828"/>
                <a:gd name="T57" fmla="*/ 1016 h 1828"/>
                <a:gd name="T58" fmla="*/ 1258 w 1828"/>
                <a:gd name="T59" fmla="*/ 444 h 1828"/>
                <a:gd name="T60" fmla="*/ 1257 w 1828"/>
                <a:gd name="T61" fmla="*/ 467 h 1828"/>
                <a:gd name="T62" fmla="*/ 1296 w 1828"/>
                <a:gd name="T63" fmla="*/ 487 h 1828"/>
                <a:gd name="T64" fmla="*/ 1300 w 1828"/>
                <a:gd name="T65" fmla="*/ 519 h 1828"/>
                <a:gd name="T66" fmla="*/ 1364 w 1828"/>
                <a:gd name="T67" fmla="*/ 508 h 1828"/>
                <a:gd name="T68" fmla="*/ 1367 w 1828"/>
                <a:gd name="T69" fmla="*/ 464 h 1828"/>
                <a:gd name="T70" fmla="*/ 1323 w 1828"/>
                <a:gd name="T71" fmla="*/ 335 h 1828"/>
                <a:gd name="T72" fmla="*/ 1262 w 1828"/>
                <a:gd name="T73" fmla="*/ 369 h 1828"/>
                <a:gd name="T74" fmla="*/ 1264 w 1828"/>
                <a:gd name="T75" fmla="*/ 369 h 1828"/>
                <a:gd name="T76" fmla="*/ 1259 w 1828"/>
                <a:gd name="T77" fmla="*/ 398 h 1828"/>
                <a:gd name="T78" fmla="*/ 1251 w 1828"/>
                <a:gd name="T79" fmla="*/ 419 h 1828"/>
                <a:gd name="T80" fmla="*/ 1242 w 1828"/>
                <a:gd name="T81" fmla="*/ 435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moveTo>
                    <a:pt x="990" y="1337"/>
                  </a:moveTo>
                  <a:cubicBezTo>
                    <a:pt x="990" y="1336"/>
                    <a:pt x="989" y="1336"/>
                    <a:pt x="989" y="1335"/>
                  </a:cubicBezTo>
                  <a:cubicBezTo>
                    <a:pt x="986" y="1332"/>
                    <a:pt x="983" y="1327"/>
                    <a:pt x="981" y="1319"/>
                  </a:cubicBezTo>
                  <a:cubicBezTo>
                    <a:pt x="980" y="1317"/>
                    <a:pt x="980" y="1314"/>
                    <a:pt x="979" y="1311"/>
                  </a:cubicBezTo>
                  <a:cubicBezTo>
                    <a:pt x="978" y="1307"/>
                    <a:pt x="977" y="1303"/>
                    <a:pt x="976" y="1299"/>
                  </a:cubicBezTo>
                  <a:cubicBezTo>
                    <a:pt x="975" y="1295"/>
                    <a:pt x="974" y="1283"/>
                    <a:pt x="973" y="1277"/>
                  </a:cubicBezTo>
                  <a:cubicBezTo>
                    <a:pt x="974" y="1277"/>
                    <a:pt x="975" y="1277"/>
                    <a:pt x="976" y="1277"/>
                  </a:cubicBezTo>
                  <a:cubicBezTo>
                    <a:pt x="976" y="1277"/>
                    <a:pt x="976" y="1277"/>
                    <a:pt x="976" y="1277"/>
                  </a:cubicBezTo>
                  <a:cubicBezTo>
                    <a:pt x="979" y="1266"/>
                    <a:pt x="994" y="1249"/>
                    <a:pt x="989" y="1249"/>
                  </a:cubicBezTo>
                  <a:cubicBezTo>
                    <a:pt x="941" y="1250"/>
                    <a:pt x="956" y="1237"/>
                    <a:pt x="904" y="1237"/>
                  </a:cubicBezTo>
                  <a:cubicBezTo>
                    <a:pt x="859" y="1237"/>
                    <a:pt x="836" y="1264"/>
                    <a:pt x="825" y="1287"/>
                  </a:cubicBezTo>
                  <a:cubicBezTo>
                    <a:pt x="805" y="1329"/>
                    <a:pt x="837" y="1371"/>
                    <a:pt x="853" y="1388"/>
                  </a:cubicBezTo>
                  <a:cubicBezTo>
                    <a:pt x="853" y="1436"/>
                    <a:pt x="853" y="1436"/>
                    <a:pt x="853" y="1436"/>
                  </a:cubicBezTo>
                  <a:cubicBezTo>
                    <a:pt x="853" y="1438"/>
                    <a:pt x="854" y="1439"/>
                    <a:pt x="856" y="1440"/>
                  </a:cubicBezTo>
                  <a:cubicBezTo>
                    <a:pt x="888" y="1453"/>
                    <a:pt x="928" y="1453"/>
                    <a:pt x="931" y="1453"/>
                  </a:cubicBezTo>
                  <a:cubicBezTo>
                    <a:pt x="931" y="1453"/>
                    <a:pt x="931" y="1453"/>
                    <a:pt x="931" y="1453"/>
                  </a:cubicBezTo>
                  <a:cubicBezTo>
                    <a:pt x="934" y="1453"/>
                    <a:pt x="936" y="1451"/>
                    <a:pt x="936" y="1449"/>
                  </a:cubicBezTo>
                  <a:cubicBezTo>
                    <a:pt x="936" y="1416"/>
                    <a:pt x="936" y="1416"/>
                    <a:pt x="936" y="1416"/>
                  </a:cubicBezTo>
                  <a:cubicBezTo>
                    <a:pt x="956" y="1418"/>
                    <a:pt x="970" y="1416"/>
                    <a:pt x="975" y="1413"/>
                  </a:cubicBezTo>
                  <a:cubicBezTo>
                    <a:pt x="980" y="1411"/>
                    <a:pt x="980" y="1404"/>
                    <a:pt x="981" y="1392"/>
                  </a:cubicBezTo>
                  <a:cubicBezTo>
                    <a:pt x="981" y="1391"/>
                    <a:pt x="981" y="1391"/>
                    <a:pt x="981" y="1391"/>
                  </a:cubicBezTo>
                  <a:cubicBezTo>
                    <a:pt x="982" y="1383"/>
                    <a:pt x="981" y="1371"/>
                    <a:pt x="980" y="1365"/>
                  </a:cubicBezTo>
                  <a:cubicBezTo>
                    <a:pt x="995" y="1364"/>
                    <a:pt x="998" y="1357"/>
                    <a:pt x="999" y="1354"/>
                  </a:cubicBezTo>
                  <a:cubicBezTo>
                    <a:pt x="1001" y="1349"/>
                    <a:pt x="996" y="1343"/>
                    <a:pt x="990" y="1337"/>
                  </a:cubicBezTo>
                  <a:close/>
                  <a:moveTo>
                    <a:pt x="357" y="1016"/>
                  </a:moveTo>
                  <a:cubicBezTo>
                    <a:pt x="359" y="1052"/>
                    <a:pt x="359" y="1052"/>
                    <a:pt x="359" y="1052"/>
                  </a:cubicBezTo>
                  <a:cubicBezTo>
                    <a:pt x="359" y="1055"/>
                    <a:pt x="361" y="1057"/>
                    <a:pt x="363" y="1058"/>
                  </a:cubicBezTo>
                  <a:cubicBezTo>
                    <a:pt x="392" y="1076"/>
                    <a:pt x="429" y="1078"/>
                    <a:pt x="444" y="1078"/>
                  </a:cubicBezTo>
                  <a:cubicBezTo>
                    <a:pt x="448" y="1078"/>
                    <a:pt x="451" y="1078"/>
                    <a:pt x="451" y="1078"/>
                  </a:cubicBezTo>
                  <a:cubicBezTo>
                    <a:pt x="455" y="1077"/>
                    <a:pt x="458" y="1074"/>
                    <a:pt x="458" y="1070"/>
                  </a:cubicBezTo>
                  <a:cubicBezTo>
                    <a:pt x="458" y="1015"/>
                    <a:pt x="458" y="1015"/>
                    <a:pt x="458" y="1015"/>
                  </a:cubicBezTo>
                  <a:cubicBezTo>
                    <a:pt x="466" y="1016"/>
                    <a:pt x="476" y="1016"/>
                    <a:pt x="481" y="1016"/>
                  </a:cubicBezTo>
                  <a:cubicBezTo>
                    <a:pt x="510" y="1016"/>
                    <a:pt x="517" y="1012"/>
                    <a:pt x="521" y="1009"/>
                  </a:cubicBezTo>
                  <a:cubicBezTo>
                    <a:pt x="525" y="1005"/>
                    <a:pt x="528" y="997"/>
                    <a:pt x="528" y="967"/>
                  </a:cubicBezTo>
                  <a:cubicBezTo>
                    <a:pt x="528" y="958"/>
                    <a:pt x="528" y="950"/>
                    <a:pt x="528" y="944"/>
                  </a:cubicBezTo>
                  <a:cubicBezTo>
                    <a:pt x="546" y="944"/>
                    <a:pt x="555" y="935"/>
                    <a:pt x="558" y="929"/>
                  </a:cubicBezTo>
                  <a:cubicBezTo>
                    <a:pt x="561" y="921"/>
                    <a:pt x="552" y="908"/>
                    <a:pt x="546" y="902"/>
                  </a:cubicBezTo>
                  <a:cubicBezTo>
                    <a:pt x="540" y="896"/>
                    <a:pt x="535" y="887"/>
                    <a:pt x="532" y="880"/>
                  </a:cubicBezTo>
                  <a:cubicBezTo>
                    <a:pt x="530" y="876"/>
                    <a:pt x="529" y="859"/>
                    <a:pt x="530" y="848"/>
                  </a:cubicBezTo>
                  <a:cubicBezTo>
                    <a:pt x="531" y="828"/>
                    <a:pt x="522" y="815"/>
                    <a:pt x="519" y="811"/>
                  </a:cubicBezTo>
                  <a:cubicBezTo>
                    <a:pt x="521" y="808"/>
                    <a:pt x="522" y="805"/>
                    <a:pt x="524" y="802"/>
                  </a:cubicBezTo>
                  <a:cubicBezTo>
                    <a:pt x="527" y="786"/>
                    <a:pt x="495" y="750"/>
                    <a:pt x="417" y="750"/>
                  </a:cubicBezTo>
                  <a:cubicBezTo>
                    <a:pt x="349" y="750"/>
                    <a:pt x="308" y="787"/>
                    <a:pt x="291" y="823"/>
                  </a:cubicBezTo>
                  <a:cubicBezTo>
                    <a:pt x="234" y="941"/>
                    <a:pt x="310" y="997"/>
                    <a:pt x="357" y="1016"/>
                  </a:cubicBezTo>
                  <a:close/>
                  <a:moveTo>
                    <a:pt x="1242" y="435"/>
                  </a:moveTo>
                  <a:cubicBezTo>
                    <a:pt x="1242" y="437"/>
                    <a:pt x="1246" y="444"/>
                    <a:pt x="1258" y="444"/>
                  </a:cubicBezTo>
                  <a:cubicBezTo>
                    <a:pt x="1258" y="450"/>
                    <a:pt x="1257" y="460"/>
                    <a:pt x="1257" y="466"/>
                  </a:cubicBezTo>
                  <a:cubicBezTo>
                    <a:pt x="1257" y="467"/>
                    <a:pt x="1257" y="467"/>
                    <a:pt x="1257" y="467"/>
                  </a:cubicBezTo>
                  <a:cubicBezTo>
                    <a:pt x="1258" y="477"/>
                    <a:pt x="1258" y="483"/>
                    <a:pt x="1263" y="485"/>
                  </a:cubicBezTo>
                  <a:cubicBezTo>
                    <a:pt x="1266" y="487"/>
                    <a:pt x="1279" y="489"/>
                    <a:pt x="1296" y="487"/>
                  </a:cubicBezTo>
                  <a:cubicBezTo>
                    <a:pt x="1296" y="515"/>
                    <a:pt x="1296" y="515"/>
                    <a:pt x="1296" y="515"/>
                  </a:cubicBezTo>
                  <a:cubicBezTo>
                    <a:pt x="1296" y="518"/>
                    <a:pt x="1297" y="519"/>
                    <a:pt x="1300" y="519"/>
                  </a:cubicBezTo>
                  <a:cubicBezTo>
                    <a:pt x="1300" y="519"/>
                    <a:pt x="1300" y="519"/>
                    <a:pt x="1300" y="519"/>
                  </a:cubicBezTo>
                  <a:cubicBezTo>
                    <a:pt x="1302" y="519"/>
                    <a:pt x="1337" y="519"/>
                    <a:pt x="1364" y="508"/>
                  </a:cubicBezTo>
                  <a:cubicBezTo>
                    <a:pt x="1366" y="508"/>
                    <a:pt x="1367" y="506"/>
                    <a:pt x="1367" y="504"/>
                  </a:cubicBezTo>
                  <a:cubicBezTo>
                    <a:pt x="1367" y="464"/>
                    <a:pt x="1367" y="464"/>
                    <a:pt x="1367" y="464"/>
                  </a:cubicBezTo>
                  <a:cubicBezTo>
                    <a:pt x="1380" y="449"/>
                    <a:pt x="1408" y="414"/>
                    <a:pt x="1391" y="378"/>
                  </a:cubicBezTo>
                  <a:cubicBezTo>
                    <a:pt x="1381" y="358"/>
                    <a:pt x="1362" y="335"/>
                    <a:pt x="1323" y="335"/>
                  </a:cubicBezTo>
                  <a:cubicBezTo>
                    <a:pt x="1279" y="335"/>
                    <a:pt x="1292" y="346"/>
                    <a:pt x="1251" y="345"/>
                  </a:cubicBezTo>
                  <a:cubicBezTo>
                    <a:pt x="1246" y="345"/>
                    <a:pt x="1259" y="360"/>
                    <a:pt x="1262" y="369"/>
                  </a:cubicBezTo>
                  <a:cubicBezTo>
                    <a:pt x="1262" y="369"/>
                    <a:pt x="1262" y="369"/>
                    <a:pt x="1262" y="369"/>
                  </a:cubicBezTo>
                  <a:cubicBezTo>
                    <a:pt x="1262" y="369"/>
                    <a:pt x="1263" y="369"/>
                    <a:pt x="1264" y="369"/>
                  </a:cubicBezTo>
                  <a:cubicBezTo>
                    <a:pt x="1264" y="374"/>
                    <a:pt x="1263" y="384"/>
                    <a:pt x="1262" y="388"/>
                  </a:cubicBezTo>
                  <a:cubicBezTo>
                    <a:pt x="1261" y="391"/>
                    <a:pt x="1260" y="395"/>
                    <a:pt x="1259" y="398"/>
                  </a:cubicBezTo>
                  <a:cubicBezTo>
                    <a:pt x="1259" y="401"/>
                    <a:pt x="1258" y="404"/>
                    <a:pt x="1257" y="405"/>
                  </a:cubicBezTo>
                  <a:cubicBezTo>
                    <a:pt x="1255" y="411"/>
                    <a:pt x="1253" y="416"/>
                    <a:pt x="1251" y="419"/>
                  </a:cubicBezTo>
                  <a:cubicBezTo>
                    <a:pt x="1250" y="419"/>
                    <a:pt x="1250" y="420"/>
                    <a:pt x="1249" y="420"/>
                  </a:cubicBezTo>
                  <a:cubicBezTo>
                    <a:pt x="1244" y="425"/>
                    <a:pt x="1240" y="430"/>
                    <a:pt x="1242" y="43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 name="Group 4"/>
          <p:cNvGrpSpPr>
            <a:grpSpLocks noChangeAspect="1"/>
          </p:cNvGrpSpPr>
          <p:nvPr/>
        </p:nvGrpSpPr>
        <p:grpSpPr bwMode="auto">
          <a:xfrm>
            <a:off x="1205512" y="1280251"/>
            <a:ext cx="1371600" cy="1372871"/>
            <a:chOff x="1682" y="0"/>
            <a:chExt cx="4316" cy="4320"/>
          </a:xfrm>
        </p:grpSpPr>
        <p:sp>
          <p:nvSpPr>
            <p:cNvPr id="33" name="AutoShape 3"/>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34" name="Freeform 5"/>
            <p:cNvSpPr>
              <a:spLocks noEditPoints="1"/>
            </p:cNvSpPr>
            <p:nvPr/>
          </p:nvSpPr>
          <p:spPr bwMode="auto">
            <a:xfrm>
              <a:off x="2188" y="720"/>
              <a:ext cx="3300" cy="2876"/>
            </a:xfrm>
            <a:custGeom>
              <a:avLst/>
              <a:gdLst>
                <a:gd name="T0" fmla="*/ 1716 w 1762"/>
                <a:gd name="T1" fmla="*/ 1534 h 1534"/>
                <a:gd name="T2" fmla="*/ 46 w 1762"/>
                <a:gd name="T3" fmla="*/ 1534 h 1534"/>
                <a:gd name="T4" fmla="*/ 8 w 1762"/>
                <a:gd name="T5" fmla="*/ 1512 h 1534"/>
                <a:gd name="T6" fmla="*/ 8 w 1762"/>
                <a:gd name="T7" fmla="*/ 1468 h 1534"/>
                <a:gd name="T8" fmla="*/ 843 w 1762"/>
                <a:gd name="T9" fmla="*/ 22 h 1534"/>
                <a:gd name="T10" fmla="*/ 881 w 1762"/>
                <a:gd name="T11" fmla="*/ 0 h 1534"/>
                <a:gd name="T12" fmla="*/ 919 w 1762"/>
                <a:gd name="T13" fmla="*/ 22 h 1534"/>
                <a:gd name="T14" fmla="*/ 919 w 1762"/>
                <a:gd name="T15" fmla="*/ 22 h 1534"/>
                <a:gd name="T16" fmla="*/ 1754 w 1762"/>
                <a:gd name="T17" fmla="*/ 1468 h 1534"/>
                <a:gd name="T18" fmla="*/ 1754 w 1762"/>
                <a:gd name="T19" fmla="*/ 1512 h 1534"/>
                <a:gd name="T20" fmla="*/ 1716 w 1762"/>
                <a:gd name="T21" fmla="*/ 1534 h 1534"/>
                <a:gd name="T22" fmla="*/ 881 w 1762"/>
                <a:gd name="T23" fmla="*/ 44 h 1534"/>
                <a:gd name="T24" fmla="*/ 46 w 1762"/>
                <a:gd name="T25" fmla="*/ 1490 h 1534"/>
                <a:gd name="T26" fmla="*/ 1716 w 1762"/>
                <a:gd name="T27" fmla="*/ 1490 h 1534"/>
                <a:gd name="T28" fmla="*/ 881 w 1762"/>
                <a:gd name="T29" fmla="*/ 44 h 1534"/>
                <a:gd name="T30" fmla="*/ 881 w 1762"/>
                <a:gd name="T31" fmla="*/ 44 h 1534"/>
                <a:gd name="T32" fmla="*/ 881 w 1762"/>
                <a:gd name="T33" fmla="*/ 44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2" h="1534">
                  <a:moveTo>
                    <a:pt x="1716" y="1534"/>
                  </a:moveTo>
                  <a:cubicBezTo>
                    <a:pt x="46" y="1534"/>
                    <a:pt x="46" y="1534"/>
                    <a:pt x="46" y="1534"/>
                  </a:cubicBezTo>
                  <a:cubicBezTo>
                    <a:pt x="30" y="1534"/>
                    <a:pt x="16" y="1526"/>
                    <a:pt x="8" y="1512"/>
                  </a:cubicBezTo>
                  <a:cubicBezTo>
                    <a:pt x="0" y="1498"/>
                    <a:pt x="0" y="1482"/>
                    <a:pt x="8" y="1468"/>
                  </a:cubicBezTo>
                  <a:cubicBezTo>
                    <a:pt x="843" y="22"/>
                    <a:pt x="843" y="22"/>
                    <a:pt x="843" y="22"/>
                  </a:cubicBezTo>
                  <a:cubicBezTo>
                    <a:pt x="851" y="8"/>
                    <a:pt x="865" y="0"/>
                    <a:pt x="881" y="0"/>
                  </a:cubicBezTo>
                  <a:cubicBezTo>
                    <a:pt x="897" y="0"/>
                    <a:pt x="911" y="8"/>
                    <a:pt x="919" y="22"/>
                  </a:cubicBezTo>
                  <a:cubicBezTo>
                    <a:pt x="919" y="22"/>
                    <a:pt x="919" y="22"/>
                    <a:pt x="919" y="22"/>
                  </a:cubicBezTo>
                  <a:cubicBezTo>
                    <a:pt x="1754" y="1468"/>
                    <a:pt x="1754" y="1468"/>
                    <a:pt x="1754" y="1468"/>
                  </a:cubicBezTo>
                  <a:cubicBezTo>
                    <a:pt x="1762" y="1482"/>
                    <a:pt x="1762" y="1498"/>
                    <a:pt x="1754" y="1512"/>
                  </a:cubicBezTo>
                  <a:cubicBezTo>
                    <a:pt x="1746" y="1526"/>
                    <a:pt x="1732" y="1534"/>
                    <a:pt x="1716" y="1534"/>
                  </a:cubicBezTo>
                  <a:close/>
                  <a:moveTo>
                    <a:pt x="881" y="44"/>
                  </a:moveTo>
                  <a:cubicBezTo>
                    <a:pt x="46" y="1490"/>
                    <a:pt x="46" y="1490"/>
                    <a:pt x="46" y="1490"/>
                  </a:cubicBezTo>
                  <a:cubicBezTo>
                    <a:pt x="1716" y="1490"/>
                    <a:pt x="1716" y="1490"/>
                    <a:pt x="1716" y="1490"/>
                  </a:cubicBezTo>
                  <a:cubicBezTo>
                    <a:pt x="881" y="44"/>
                    <a:pt x="881" y="44"/>
                    <a:pt x="881" y="44"/>
                  </a:cubicBezTo>
                  <a:cubicBezTo>
                    <a:pt x="881" y="44"/>
                    <a:pt x="881" y="44"/>
                    <a:pt x="881" y="44"/>
                  </a:cubicBezTo>
                  <a:cubicBezTo>
                    <a:pt x="881" y="44"/>
                    <a:pt x="881" y="44"/>
                    <a:pt x="881"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sp>
          <p:nvSpPr>
            <p:cNvPr id="35" name="Freeform 6"/>
            <p:cNvSpPr>
              <a:spLocks noEditPoints="1"/>
            </p:cNvSpPr>
            <p:nvPr/>
          </p:nvSpPr>
          <p:spPr bwMode="auto">
            <a:xfrm>
              <a:off x="2426" y="982"/>
              <a:ext cx="2825" cy="2449"/>
            </a:xfrm>
            <a:custGeom>
              <a:avLst/>
              <a:gdLst>
                <a:gd name="T0" fmla="*/ 1504 w 1508"/>
                <a:gd name="T1" fmla="*/ 1291 h 1306"/>
                <a:gd name="T2" fmla="*/ 763 w 1508"/>
                <a:gd name="T3" fmla="*/ 7 h 1306"/>
                <a:gd name="T4" fmla="*/ 745 w 1508"/>
                <a:gd name="T5" fmla="*/ 7 h 1306"/>
                <a:gd name="T6" fmla="*/ 4 w 1508"/>
                <a:gd name="T7" fmla="*/ 1291 h 1306"/>
                <a:gd name="T8" fmla="*/ 13 w 1508"/>
                <a:gd name="T9" fmla="*/ 1306 h 1306"/>
                <a:gd name="T10" fmla="*/ 1495 w 1508"/>
                <a:gd name="T11" fmla="*/ 1306 h 1306"/>
                <a:gd name="T12" fmla="*/ 1504 w 1508"/>
                <a:gd name="T13" fmla="*/ 1291 h 1306"/>
                <a:gd name="T14" fmla="*/ 694 w 1508"/>
                <a:gd name="T15" fmla="*/ 419 h 1306"/>
                <a:gd name="T16" fmla="*/ 814 w 1508"/>
                <a:gd name="T17" fmla="*/ 419 h 1306"/>
                <a:gd name="T18" fmla="*/ 814 w 1508"/>
                <a:gd name="T19" fmla="*/ 608 h 1306"/>
                <a:gd name="T20" fmla="*/ 778 w 1508"/>
                <a:gd name="T21" fmla="*/ 932 h 1306"/>
                <a:gd name="T22" fmla="*/ 730 w 1508"/>
                <a:gd name="T23" fmla="*/ 932 h 1306"/>
                <a:gd name="T24" fmla="*/ 694 w 1508"/>
                <a:gd name="T25" fmla="*/ 608 h 1306"/>
                <a:gd name="T26" fmla="*/ 694 w 1508"/>
                <a:gd name="T27" fmla="*/ 419 h 1306"/>
                <a:gd name="T28" fmla="*/ 808 w 1508"/>
                <a:gd name="T29" fmla="*/ 1095 h 1306"/>
                <a:gd name="T30" fmla="*/ 755 w 1508"/>
                <a:gd name="T31" fmla="*/ 1117 h 1306"/>
                <a:gd name="T32" fmla="*/ 701 w 1508"/>
                <a:gd name="T33" fmla="*/ 1095 h 1306"/>
                <a:gd name="T34" fmla="*/ 678 w 1508"/>
                <a:gd name="T35" fmla="*/ 1041 h 1306"/>
                <a:gd name="T36" fmla="*/ 701 w 1508"/>
                <a:gd name="T37" fmla="*/ 988 h 1306"/>
                <a:gd name="T38" fmla="*/ 755 w 1508"/>
                <a:gd name="T39" fmla="*/ 965 h 1306"/>
                <a:gd name="T40" fmla="*/ 808 w 1508"/>
                <a:gd name="T41" fmla="*/ 988 h 1306"/>
                <a:gd name="T42" fmla="*/ 830 w 1508"/>
                <a:gd name="T43" fmla="*/ 1041 h 1306"/>
                <a:gd name="T44" fmla="*/ 808 w 1508"/>
                <a:gd name="T45" fmla="*/ 1095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08" h="1306">
                  <a:moveTo>
                    <a:pt x="1504" y="1291"/>
                  </a:moveTo>
                  <a:cubicBezTo>
                    <a:pt x="763" y="7"/>
                    <a:pt x="763" y="7"/>
                    <a:pt x="763" y="7"/>
                  </a:cubicBezTo>
                  <a:cubicBezTo>
                    <a:pt x="759" y="0"/>
                    <a:pt x="749" y="0"/>
                    <a:pt x="745" y="7"/>
                  </a:cubicBezTo>
                  <a:cubicBezTo>
                    <a:pt x="4" y="1291"/>
                    <a:pt x="4" y="1291"/>
                    <a:pt x="4" y="1291"/>
                  </a:cubicBezTo>
                  <a:cubicBezTo>
                    <a:pt x="0" y="1298"/>
                    <a:pt x="5" y="1306"/>
                    <a:pt x="13" y="1306"/>
                  </a:cubicBezTo>
                  <a:cubicBezTo>
                    <a:pt x="1495" y="1306"/>
                    <a:pt x="1495" y="1306"/>
                    <a:pt x="1495" y="1306"/>
                  </a:cubicBezTo>
                  <a:cubicBezTo>
                    <a:pt x="1503" y="1306"/>
                    <a:pt x="1508" y="1298"/>
                    <a:pt x="1504" y="1291"/>
                  </a:cubicBezTo>
                  <a:close/>
                  <a:moveTo>
                    <a:pt x="694" y="419"/>
                  </a:moveTo>
                  <a:cubicBezTo>
                    <a:pt x="814" y="419"/>
                    <a:pt x="814" y="419"/>
                    <a:pt x="814" y="419"/>
                  </a:cubicBezTo>
                  <a:cubicBezTo>
                    <a:pt x="814" y="608"/>
                    <a:pt x="814" y="608"/>
                    <a:pt x="814" y="608"/>
                  </a:cubicBezTo>
                  <a:cubicBezTo>
                    <a:pt x="814" y="669"/>
                    <a:pt x="803" y="778"/>
                    <a:pt x="778" y="932"/>
                  </a:cubicBezTo>
                  <a:cubicBezTo>
                    <a:pt x="730" y="932"/>
                    <a:pt x="730" y="932"/>
                    <a:pt x="730" y="932"/>
                  </a:cubicBezTo>
                  <a:cubicBezTo>
                    <a:pt x="706" y="778"/>
                    <a:pt x="694" y="669"/>
                    <a:pt x="694" y="608"/>
                  </a:cubicBezTo>
                  <a:lnTo>
                    <a:pt x="694" y="419"/>
                  </a:lnTo>
                  <a:close/>
                  <a:moveTo>
                    <a:pt x="808" y="1095"/>
                  </a:moveTo>
                  <a:cubicBezTo>
                    <a:pt x="794" y="1110"/>
                    <a:pt x="776" y="1117"/>
                    <a:pt x="755" y="1117"/>
                  </a:cubicBezTo>
                  <a:cubicBezTo>
                    <a:pt x="733" y="1117"/>
                    <a:pt x="715" y="1110"/>
                    <a:pt x="701" y="1095"/>
                  </a:cubicBezTo>
                  <a:cubicBezTo>
                    <a:pt x="686" y="1080"/>
                    <a:pt x="678" y="1063"/>
                    <a:pt x="678" y="1041"/>
                  </a:cubicBezTo>
                  <a:cubicBezTo>
                    <a:pt x="678" y="1020"/>
                    <a:pt x="686" y="1002"/>
                    <a:pt x="701" y="988"/>
                  </a:cubicBezTo>
                  <a:cubicBezTo>
                    <a:pt x="715" y="973"/>
                    <a:pt x="733" y="965"/>
                    <a:pt x="755" y="965"/>
                  </a:cubicBezTo>
                  <a:cubicBezTo>
                    <a:pt x="776" y="965"/>
                    <a:pt x="794" y="973"/>
                    <a:pt x="808" y="988"/>
                  </a:cubicBezTo>
                  <a:cubicBezTo>
                    <a:pt x="823" y="1002"/>
                    <a:pt x="830" y="1020"/>
                    <a:pt x="830" y="1041"/>
                  </a:cubicBezTo>
                  <a:cubicBezTo>
                    <a:pt x="830" y="1063"/>
                    <a:pt x="823" y="1080"/>
                    <a:pt x="808" y="1095"/>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75757"/>
                </a:solidFill>
              </a:endParaRPr>
            </a:p>
          </p:txBody>
        </p:sp>
      </p:grpSp>
      <p:grpSp>
        <p:nvGrpSpPr>
          <p:cNvPr id="24" name="bcgIcons_Innovation ">
            <a:extLst>
              <a:ext uri="{FF2B5EF4-FFF2-40B4-BE49-F238E27FC236}">
                <a16:creationId xmlns:a16="http://schemas.microsoft.com/office/drawing/2014/main" id="{9EB0E92B-8E14-D6C5-F36E-0B84A622AE92}"/>
              </a:ext>
            </a:extLst>
          </p:cNvPr>
          <p:cNvGrpSpPr>
            <a:grpSpLocks noChangeAspect="1"/>
          </p:cNvGrpSpPr>
          <p:nvPr/>
        </p:nvGrpSpPr>
        <p:grpSpPr>
          <a:xfrm>
            <a:off x="4008001" y="1280251"/>
            <a:ext cx="1371600" cy="1370278"/>
            <a:chOff x="5272088" y="2606675"/>
            <a:chExt cx="1646237" cy="1644650"/>
          </a:xfrm>
        </p:grpSpPr>
        <p:sp>
          <p:nvSpPr>
            <p:cNvPr id="42" name="AutoShape 26">
              <a:extLst>
                <a:ext uri="{FF2B5EF4-FFF2-40B4-BE49-F238E27FC236}">
                  <a16:creationId xmlns:a16="http://schemas.microsoft.com/office/drawing/2014/main" id="{BF133516-AC92-0AC0-5149-007B304BA184}"/>
                </a:ext>
              </a:extLst>
            </p:cNvPr>
            <p:cNvSpPr>
              <a:spLocks noChangeAspect="1" noChangeArrowheads="1" noTextEdit="1"/>
            </p:cNvSpPr>
            <p:nvPr/>
          </p:nvSpPr>
          <p:spPr bwMode="auto">
            <a:xfrm>
              <a:off x="5272088" y="2606675"/>
              <a:ext cx="1646237"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3" name="Group 42">
              <a:extLst>
                <a:ext uri="{FF2B5EF4-FFF2-40B4-BE49-F238E27FC236}">
                  <a16:creationId xmlns:a16="http://schemas.microsoft.com/office/drawing/2014/main" id="{85B5D70E-AF05-661F-3233-83EAF035AF21}"/>
                </a:ext>
              </a:extLst>
            </p:cNvPr>
            <p:cNvGrpSpPr/>
            <p:nvPr/>
          </p:nvGrpSpPr>
          <p:grpSpPr>
            <a:xfrm>
              <a:off x="5719763" y="2797175"/>
              <a:ext cx="768348" cy="1255713"/>
              <a:chOff x="5719763" y="2797175"/>
              <a:chExt cx="768348" cy="1255713"/>
            </a:xfrm>
          </p:grpSpPr>
          <p:sp>
            <p:nvSpPr>
              <p:cNvPr id="46" name="Freeform 10">
                <a:extLst>
                  <a:ext uri="{FF2B5EF4-FFF2-40B4-BE49-F238E27FC236}">
                    <a16:creationId xmlns:a16="http://schemas.microsoft.com/office/drawing/2014/main" id="{7102D635-63B2-0210-F5C5-3A797D1BC118}"/>
                  </a:ext>
                </a:extLst>
              </p:cNvPr>
              <p:cNvSpPr>
                <a:spLocks/>
              </p:cNvSpPr>
              <p:nvPr/>
            </p:nvSpPr>
            <p:spPr bwMode="auto">
              <a:xfrm>
                <a:off x="5719763" y="2797175"/>
                <a:ext cx="744537" cy="869951"/>
              </a:xfrm>
              <a:custGeom>
                <a:avLst/>
                <a:gdLst>
                  <a:gd name="connsiteX0" fmla="*/ 527050 w 744537"/>
                  <a:gd name="connsiteY0" fmla="*/ 838200 h 869951"/>
                  <a:gd name="connsiteX1" fmla="*/ 551039 w 744537"/>
                  <a:gd name="connsiteY1" fmla="*/ 842433 h 869951"/>
                  <a:gd name="connsiteX2" fmla="*/ 558800 w 744537"/>
                  <a:gd name="connsiteY2" fmla="*/ 841728 h 869951"/>
                  <a:gd name="connsiteX3" fmla="*/ 558800 w 744537"/>
                  <a:gd name="connsiteY3" fmla="*/ 869950 h 869951"/>
                  <a:gd name="connsiteX4" fmla="*/ 527050 w 744537"/>
                  <a:gd name="connsiteY4" fmla="*/ 869950 h 869951"/>
                  <a:gd name="connsiteX5" fmla="*/ 527050 w 744537"/>
                  <a:gd name="connsiteY5" fmla="*/ 838200 h 869951"/>
                  <a:gd name="connsiteX6" fmla="*/ 379931 w 744537"/>
                  <a:gd name="connsiteY6" fmla="*/ 654050 h 869951"/>
                  <a:gd name="connsiteX7" fmla="*/ 503237 w 744537"/>
                  <a:gd name="connsiteY7" fmla="*/ 725568 h 869951"/>
                  <a:gd name="connsiteX8" fmla="*/ 486844 w 744537"/>
                  <a:gd name="connsiteY8" fmla="*/ 752475 h 869951"/>
                  <a:gd name="connsiteX9" fmla="*/ 363537 w 744537"/>
                  <a:gd name="connsiteY9" fmla="*/ 680250 h 869951"/>
                  <a:gd name="connsiteX10" fmla="*/ 379931 w 744537"/>
                  <a:gd name="connsiteY10" fmla="*/ 654050 h 869951"/>
                  <a:gd name="connsiteX11" fmla="*/ 103785 w 744537"/>
                  <a:gd name="connsiteY11" fmla="*/ 582613 h 869951"/>
                  <a:gd name="connsiteX12" fmla="*/ 115102 w 744537"/>
                  <a:gd name="connsiteY12" fmla="*/ 596873 h 869951"/>
                  <a:gd name="connsiteX13" fmla="*/ 219075 w 744537"/>
                  <a:gd name="connsiteY13" fmla="*/ 807920 h 869951"/>
                  <a:gd name="connsiteX14" fmla="*/ 219075 w 744537"/>
                  <a:gd name="connsiteY14" fmla="*/ 869951 h 869951"/>
                  <a:gd name="connsiteX15" fmla="*/ 187954 w 744537"/>
                  <a:gd name="connsiteY15" fmla="*/ 869951 h 869951"/>
                  <a:gd name="connsiteX16" fmla="*/ 187954 w 744537"/>
                  <a:gd name="connsiteY16" fmla="*/ 807920 h 869951"/>
                  <a:gd name="connsiteX17" fmla="*/ 93175 w 744537"/>
                  <a:gd name="connsiteY17" fmla="*/ 618263 h 869951"/>
                  <a:gd name="connsiteX18" fmla="*/ 92468 w 744537"/>
                  <a:gd name="connsiteY18" fmla="*/ 617550 h 869951"/>
                  <a:gd name="connsiteX19" fmla="*/ 76200 w 744537"/>
                  <a:gd name="connsiteY19" fmla="*/ 597586 h 869951"/>
                  <a:gd name="connsiteX20" fmla="*/ 103785 w 744537"/>
                  <a:gd name="connsiteY20" fmla="*/ 582613 h 869951"/>
                  <a:gd name="connsiteX21" fmla="*/ 699573 w 744537"/>
                  <a:gd name="connsiteY21" fmla="*/ 469900 h 869951"/>
                  <a:gd name="connsiteX22" fmla="*/ 730249 w 744537"/>
                  <a:gd name="connsiteY22" fmla="*/ 477065 h 869951"/>
                  <a:gd name="connsiteX23" fmla="*/ 656055 w 744537"/>
                  <a:gd name="connsiteY23" fmla="*/ 614630 h 869951"/>
                  <a:gd name="connsiteX24" fmla="*/ 654628 w 744537"/>
                  <a:gd name="connsiteY24" fmla="*/ 616063 h 869951"/>
                  <a:gd name="connsiteX25" fmla="*/ 584000 w 744537"/>
                  <a:gd name="connsiteY25" fmla="*/ 712788 h 869951"/>
                  <a:gd name="connsiteX26" fmla="*/ 554037 w 744537"/>
                  <a:gd name="connsiteY26" fmla="*/ 704907 h 869951"/>
                  <a:gd name="connsiteX27" fmla="*/ 632512 w 744537"/>
                  <a:gd name="connsiteY27" fmla="*/ 593852 h 869951"/>
                  <a:gd name="connsiteX28" fmla="*/ 699573 w 744537"/>
                  <a:gd name="connsiteY28" fmla="*/ 469900 h 869951"/>
                  <a:gd name="connsiteX29" fmla="*/ 415091 w 744537"/>
                  <a:gd name="connsiteY29" fmla="*/ 407988 h 869951"/>
                  <a:gd name="connsiteX30" fmla="*/ 442912 w 744537"/>
                  <a:gd name="connsiteY30" fmla="*/ 422928 h 869951"/>
                  <a:gd name="connsiteX31" fmla="*/ 358022 w 744537"/>
                  <a:gd name="connsiteY31" fmla="*/ 579438 h 869951"/>
                  <a:gd name="connsiteX32" fmla="*/ 330200 w 744537"/>
                  <a:gd name="connsiteY32" fmla="*/ 564499 h 869951"/>
                  <a:gd name="connsiteX33" fmla="*/ 415091 w 744537"/>
                  <a:gd name="connsiteY33" fmla="*/ 407988 h 869951"/>
                  <a:gd name="connsiteX34" fmla="*/ 393500 w 744537"/>
                  <a:gd name="connsiteY34" fmla="*/ 368300 h 869951"/>
                  <a:gd name="connsiteX35" fmla="*/ 406400 w 744537"/>
                  <a:gd name="connsiteY35" fmla="*/ 396860 h 869951"/>
                  <a:gd name="connsiteX36" fmla="*/ 123309 w 744537"/>
                  <a:gd name="connsiteY36" fmla="*/ 517525 h 869951"/>
                  <a:gd name="connsiteX37" fmla="*/ 111125 w 744537"/>
                  <a:gd name="connsiteY37" fmla="*/ 488965 h 869951"/>
                  <a:gd name="connsiteX38" fmla="*/ 393500 w 744537"/>
                  <a:gd name="connsiteY38" fmla="*/ 368300 h 869951"/>
                  <a:gd name="connsiteX39" fmla="*/ 527987 w 744537"/>
                  <a:gd name="connsiteY39" fmla="*/ 355600 h 869951"/>
                  <a:gd name="connsiteX40" fmla="*/ 668337 w 744537"/>
                  <a:gd name="connsiteY40" fmla="*/ 381623 h 869951"/>
                  <a:gd name="connsiteX41" fmla="*/ 662638 w 744537"/>
                  <a:gd name="connsiteY41" fmla="*/ 409053 h 869951"/>
                  <a:gd name="connsiteX42" fmla="*/ 662638 w 744537"/>
                  <a:gd name="connsiteY42" fmla="*/ 411163 h 869951"/>
                  <a:gd name="connsiteX43" fmla="*/ 522287 w 744537"/>
                  <a:gd name="connsiteY43" fmla="*/ 385140 h 869951"/>
                  <a:gd name="connsiteX44" fmla="*/ 527987 w 744537"/>
                  <a:gd name="connsiteY44" fmla="*/ 358413 h 869951"/>
                  <a:gd name="connsiteX45" fmla="*/ 527987 w 744537"/>
                  <a:gd name="connsiteY45" fmla="*/ 355600 h 869951"/>
                  <a:gd name="connsiteX46" fmla="*/ 149469 w 744537"/>
                  <a:gd name="connsiteY46" fmla="*/ 268288 h 869951"/>
                  <a:gd name="connsiteX47" fmla="*/ 179387 w 744537"/>
                  <a:gd name="connsiteY47" fmla="*/ 280386 h 869951"/>
                  <a:gd name="connsiteX48" fmla="*/ 97468 w 744537"/>
                  <a:gd name="connsiteY48" fmla="*/ 474663 h 869951"/>
                  <a:gd name="connsiteX49" fmla="*/ 68262 w 744537"/>
                  <a:gd name="connsiteY49" fmla="*/ 462565 h 869951"/>
                  <a:gd name="connsiteX50" fmla="*/ 149469 w 744537"/>
                  <a:gd name="connsiteY50" fmla="*/ 268288 h 869951"/>
                  <a:gd name="connsiteX51" fmla="*/ 492666 w 744537"/>
                  <a:gd name="connsiteY51" fmla="*/ 111125 h 869951"/>
                  <a:gd name="connsiteX52" fmla="*/ 521747 w 744537"/>
                  <a:gd name="connsiteY52" fmla="*/ 117543 h 869951"/>
                  <a:gd name="connsiteX53" fmla="*/ 523875 w 744537"/>
                  <a:gd name="connsiteY53" fmla="*/ 117543 h 869951"/>
                  <a:gd name="connsiteX54" fmla="*/ 488410 w 744537"/>
                  <a:gd name="connsiteY54" fmla="*/ 293688 h 869951"/>
                  <a:gd name="connsiteX55" fmla="*/ 459328 w 744537"/>
                  <a:gd name="connsiteY55" fmla="*/ 287983 h 869951"/>
                  <a:gd name="connsiteX56" fmla="*/ 457200 w 744537"/>
                  <a:gd name="connsiteY56" fmla="*/ 287983 h 869951"/>
                  <a:gd name="connsiteX57" fmla="*/ 492666 w 744537"/>
                  <a:gd name="connsiteY57" fmla="*/ 111125 h 869951"/>
                  <a:gd name="connsiteX58" fmla="*/ 588027 w 744537"/>
                  <a:gd name="connsiteY58" fmla="*/ 66675 h 869951"/>
                  <a:gd name="connsiteX59" fmla="*/ 744537 w 744537"/>
                  <a:gd name="connsiteY59" fmla="*/ 342184 h 869951"/>
                  <a:gd name="connsiteX60" fmla="*/ 731020 w 744537"/>
                  <a:gd name="connsiteY60" fmla="*/ 340753 h 869951"/>
                  <a:gd name="connsiteX61" fmla="*/ 713947 w 744537"/>
                  <a:gd name="connsiteY61" fmla="*/ 342900 h 869951"/>
                  <a:gd name="connsiteX62" fmla="*/ 573087 w 744537"/>
                  <a:gd name="connsiteY62" fmla="*/ 94584 h 869951"/>
                  <a:gd name="connsiteX63" fmla="*/ 588027 w 744537"/>
                  <a:gd name="connsiteY63" fmla="*/ 66675 h 869951"/>
                  <a:gd name="connsiteX64" fmla="*/ 454758 w 744537"/>
                  <a:gd name="connsiteY64" fmla="*/ 65088 h 869951"/>
                  <a:gd name="connsiteX65" fmla="*/ 468312 w 744537"/>
                  <a:gd name="connsiteY65" fmla="*/ 94516 h 869951"/>
                  <a:gd name="connsiteX66" fmla="*/ 256441 w 744537"/>
                  <a:gd name="connsiteY66" fmla="*/ 200026 h 869951"/>
                  <a:gd name="connsiteX67" fmla="*/ 242887 w 744537"/>
                  <a:gd name="connsiteY67" fmla="*/ 171316 h 869951"/>
                  <a:gd name="connsiteX68" fmla="*/ 454758 w 744537"/>
                  <a:gd name="connsiteY68" fmla="*/ 65088 h 869951"/>
                  <a:gd name="connsiteX69" fmla="*/ 373682 w 744537"/>
                  <a:gd name="connsiteY69" fmla="*/ 0 h 869951"/>
                  <a:gd name="connsiteX70" fmla="*/ 465137 w 744537"/>
                  <a:gd name="connsiteY70" fmla="*/ 10707 h 869951"/>
                  <a:gd name="connsiteX71" fmla="*/ 453705 w 744537"/>
                  <a:gd name="connsiteY71" fmla="*/ 40685 h 869951"/>
                  <a:gd name="connsiteX72" fmla="*/ 373682 w 744537"/>
                  <a:gd name="connsiteY72" fmla="*/ 31406 h 869951"/>
                  <a:gd name="connsiteX73" fmla="*/ 31438 w 744537"/>
                  <a:gd name="connsiteY73" fmla="*/ 371879 h 869951"/>
                  <a:gd name="connsiteX74" fmla="*/ 43584 w 744537"/>
                  <a:gd name="connsiteY74" fmla="*/ 462529 h 869951"/>
                  <a:gd name="connsiteX75" fmla="*/ 15004 w 744537"/>
                  <a:gd name="connsiteY75" fmla="*/ 474663 h 869951"/>
                  <a:gd name="connsiteX76" fmla="*/ 0 w 744537"/>
                  <a:gd name="connsiteY76" fmla="*/ 371879 h 869951"/>
                  <a:gd name="connsiteX77" fmla="*/ 373682 w 744537"/>
                  <a:gd name="connsiteY77" fmla="*/ 0 h 86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44537" h="869951">
                    <a:moveTo>
                      <a:pt x="527050" y="838200"/>
                    </a:moveTo>
                    <a:cubicBezTo>
                      <a:pt x="534106" y="841022"/>
                      <a:pt x="542572" y="842433"/>
                      <a:pt x="551039" y="842433"/>
                    </a:cubicBezTo>
                    <a:cubicBezTo>
                      <a:pt x="553861" y="842433"/>
                      <a:pt x="555978" y="842433"/>
                      <a:pt x="558800" y="841728"/>
                    </a:cubicBezTo>
                    <a:cubicBezTo>
                      <a:pt x="558800" y="841728"/>
                      <a:pt x="558800" y="841728"/>
                      <a:pt x="558800" y="869950"/>
                    </a:cubicBezTo>
                    <a:cubicBezTo>
                      <a:pt x="558800" y="869950"/>
                      <a:pt x="558800" y="869950"/>
                      <a:pt x="527050" y="869950"/>
                    </a:cubicBezTo>
                    <a:cubicBezTo>
                      <a:pt x="527050" y="861483"/>
                      <a:pt x="527050" y="850900"/>
                      <a:pt x="527050" y="838200"/>
                    </a:cubicBezTo>
                    <a:close/>
                    <a:moveTo>
                      <a:pt x="379931" y="654050"/>
                    </a:moveTo>
                    <a:cubicBezTo>
                      <a:pt x="379931" y="654050"/>
                      <a:pt x="379931" y="654050"/>
                      <a:pt x="503237" y="725568"/>
                    </a:cubicBezTo>
                    <a:cubicBezTo>
                      <a:pt x="495397" y="733357"/>
                      <a:pt x="489695" y="741854"/>
                      <a:pt x="486844" y="752475"/>
                    </a:cubicBezTo>
                    <a:cubicBezTo>
                      <a:pt x="486844" y="752475"/>
                      <a:pt x="486844" y="752475"/>
                      <a:pt x="363537" y="680250"/>
                    </a:cubicBezTo>
                    <a:cubicBezTo>
                      <a:pt x="370665" y="672461"/>
                      <a:pt x="376367" y="663255"/>
                      <a:pt x="379931" y="654050"/>
                    </a:cubicBezTo>
                    <a:close/>
                    <a:moveTo>
                      <a:pt x="103785" y="582613"/>
                    </a:moveTo>
                    <a:cubicBezTo>
                      <a:pt x="107321" y="586891"/>
                      <a:pt x="110858" y="591882"/>
                      <a:pt x="115102" y="596873"/>
                    </a:cubicBezTo>
                    <a:cubicBezTo>
                      <a:pt x="125004" y="605429"/>
                      <a:pt x="219075" y="698119"/>
                      <a:pt x="219075" y="807920"/>
                    </a:cubicBezTo>
                    <a:cubicBezTo>
                      <a:pt x="219075" y="807920"/>
                      <a:pt x="219075" y="807920"/>
                      <a:pt x="219075" y="869951"/>
                    </a:cubicBezTo>
                    <a:cubicBezTo>
                      <a:pt x="219075" y="869951"/>
                      <a:pt x="219075" y="869951"/>
                      <a:pt x="187954" y="869951"/>
                    </a:cubicBezTo>
                    <a:cubicBezTo>
                      <a:pt x="187954" y="869951"/>
                      <a:pt x="187954" y="869951"/>
                      <a:pt x="187954" y="807920"/>
                    </a:cubicBezTo>
                    <a:cubicBezTo>
                      <a:pt x="187954" y="708814"/>
                      <a:pt x="94590" y="618976"/>
                      <a:pt x="93175" y="618263"/>
                    </a:cubicBezTo>
                    <a:cubicBezTo>
                      <a:pt x="93175" y="618263"/>
                      <a:pt x="93175" y="618263"/>
                      <a:pt x="92468" y="617550"/>
                    </a:cubicBezTo>
                    <a:cubicBezTo>
                      <a:pt x="86809" y="611133"/>
                      <a:pt x="81151" y="604716"/>
                      <a:pt x="76200" y="597586"/>
                    </a:cubicBezTo>
                    <a:cubicBezTo>
                      <a:pt x="86809" y="594734"/>
                      <a:pt x="96004" y="589743"/>
                      <a:pt x="103785" y="582613"/>
                    </a:cubicBezTo>
                    <a:close/>
                    <a:moveTo>
                      <a:pt x="699573" y="469900"/>
                    </a:moveTo>
                    <a:cubicBezTo>
                      <a:pt x="708847" y="474199"/>
                      <a:pt x="718835" y="477065"/>
                      <a:pt x="730249" y="477065"/>
                    </a:cubicBezTo>
                    <a:cubicBezTo>
                      <a:pt x="715268" y="527935"/>
                      <a:pt x="690298" y="575223"/>
                      <a:pt x="656055" y="614630"/>
                    </a:cubicBezTo>
                    <a:cubicBezTo>
                      <a:pt x="656055" y="614630"/>
                      <a:pt x="656055" y="614630"/>
                      <a:pt x="654628" y="616063"/>
                    </a:cubicBezTo>
                    <a:cubicBezTo>
                      <a:pt x="653914" y="616779"/>
                      <a:pt x="612537" y="656902"/>
                      <a:pt x="584000" y="712788"/>
                    </a:cubicBezTo>
                    <a:cubicBezTo>
                      <a:pt x="574726" y="707773"/>
                      <a:pt x="564738" y="704907"/>
                      <a:pt x="554037" y="704907"/>
                    </a:cubicBezTo>
                    <a:cubicBezTo>
                      <a:pt x="581860" y="644006"/>
                      <a:pt x="626092" y="600300"/>
                      <a:pt x="632512" y="593852"/>
                    </a:cubicBezTo>
                    <a:cubicBezTo>
                      <a:pt x="663902" y="558028"/>
                      <a:pt x="686018" y="515039"/>
                      <a:pt x="699573" y="469900"/>
                    </a:cubicBezTo>
                    <a:close/>
                    <a:moveTo>
                      <a:pt x="415091" y="407988"/>
                    </a:moveTo>
                    <a:cubicBezTo>
                      <a:pt x="422938" y="414391"/>
                      <a:pt x="432212" y="420082"/>
                      <a:pt x="442912" y="422928"/>
                    </a:cubicBezTo>
                    <a:cubicBezTo>
                      <a:pt x="442912" y="422928"/>
                      <a:pt x="442912" y="422928"/>
                      <a:pt x="358022" y="579438"/>
                    </a:cubicBezTo>
                    <a:cubicBezTo>
                      <a:pt x="350175" y="573035"/>
                      <a:pt x="340901" y="567344"/>
                      <a:pt x="330200" y="564499"/>
                    </a:cubicBezTo>
                    <a:cubicBezTo>
                      <a:pt x="330200" y="564499"/>
                      <a:pt x="330200" y="564499"/>
                      <a:pt x="415091" y="407988"/>
                    </a:cubicBezTo>
                    <a:close/>
                    <a:moveTo>
                      <a:pt x="393500" y="368300"/>
                    </a:moveTo>
                    <a:cubicBezTo>
                      <a:pt x="396367" y="379010"/>
                      <a:pt x="400667" y="388292"/>
                      <a:pt x="406400" y="396860"/>
                    </a:cubicBezTo>
                    <a:cubicBezTo>
                      <a:pt x="406400" y="396860"/>
                      <a:pt x="406400" y="396860"/>
                      <a:pt x="123309" y="517525"/>
                    </a:cubicBezTo>
                    <a:cubicBezTo>
                      <a:pt x="121876" y="506815"/>
                      <a:pt x="116859" y="496819"/>
                      <a:pt x="111125" y="488965"/>
                    </a:cubicBezTo>
                    <a:cubicBezTo>
                      <a:pt x="111125" y="488965"/>
                      <a:pt x="111125" y="488965"/>
                      <a:pt x="393500" y="368300"/>
                    </a:cubicBezTo>
                    <a:close/>
                    <a:moveTo>
                      <a:pt x="527987" y="355600"/>
                    </a:moveTo>
                    <a:cubicBezTo>
                      <a:pt x="527987" y="355600"/>
                      <a:pt x="527987" y="355600"/>
                      <a:pt x="668337" y="381623"/>
                    </a:cubicBezTo>
                    <a:cubicBezTo>
                      <a:pt x="664775" y="390063"/>
                      <a:pt x="662638" y="399207"/>
                      <a:pt x="662638" y="409053"/>
                    </a:cubicBezTo>
                    <a:cubicBezTo>
                      <a:pt x="662638" y="409756"/>
                      <a:pt x="662638" y="410460"/>
                      <a:pt x="662638" y="411163"/>
                    </a:cubicBezTo>
                    <a:cubicBezTo>
                      <a:pt x="662638" y="411163"/>
                      <a:pt x="662638" y="411163"/>
                      <a:pt x="522287" y="385140"/>
                    </a:cubicBezTo>
                    <a:cubicBezTo>
                      <a:pt x="525849" y="376700"/>
                      <a:pt x="527987" y="367556"/>
                      <a:pt x="527987" y="358413"/>
                    </a:cubicBezTo>
                    <a:cubicBezTo>
                      <a:pt x="527987" y="357710"/>
                      <a:pt x="527987" y="356303"/>
                      <a:pt x="527987" y="355600"/>
                    </a:cubicBezTo>
                    <a:close/>
                    <a:moveTo>
                      <a:pt x="149469" y="268288"/>
                    </a:moveTo>
                    <a:cubicBezTo>
                      <a:pt x="158017" y="274693"/>
                      <a:pt x="168702" y="278962"/>
                      <a:pt x="179387" y="280386"/>
                    </a:cubicBezTo>
                    <a:cubicBezTo>
                      <a:pt x="179387" y="280386"/>
                      <a:pt x="179387" y="280386"/>
                      <a:pt x="97468" y="474663"/>
                    </a:cubicBezTo>
                    <a:cubicBezTo>
                      <a:pt x="88920" y="468970"/>
                      <a:pt x="78947" y="464700"/>
                      <a:pt x="68262" y="462565"/>
                    </a:cubicBezTo>
                    <a:cubicBezTo>
                      <a:pt x="68262" y="462565"/>
                      <a:pt x="68262" y="462565"/>
                      <a:pt x="149469" y="268288"/>
                    </a:cubicBezTo>
                    <a:close/>
                    <a:moveTo>
                      <a:pt x="492666" y="111125"/>
                    </a:moveTo>
                    <a:cubicBezTo>
                      <a:pt x="501887" y="115404"/>
                      <a:pt x="511817" y="117543"/>
                      <a:pt x="521747" y="117543"/>
                    </a:cubicBezTo>
                    <a:cubicBezTo>
                      <a:pt x="522457" y="117543"/>
                      <a:pt x="523166" y="117543"/>
                      <a:pt x="523875" y="117543"/>
                    </a:cubicBezTo>
                    <a:cubicBezTo>
                      <a:pt x="523875" y="117543"/>
                      <a:pt x="523875" y="117543"/>
                      <a:pt x="488410" y="293688"/>
                    </a:cubicBezTo>
                    <a:cubicBezTo>
                      <a:pt x="479898" y="290835"/>
                      <a:pt x="470677" y="287983"/>
                      <a:pt x="459328" y="287983"/>
                    </a:cubicBezTo>
                    <a:cubicBezTo>
                      <a:pt x="458619" y="287983"/>
                      <a:pt x="457910" y="287983"/>
                      <a:pt x="457200" y="287983"/>
                    </a:cubicBezTo>
                    <a:cubicBezTo>
                      <a:pt x="457200" y="287983"/>
                      <a:pt x="457200" y="287983"/>
                      <a:pt x="492666" y="111125"/>
                    </a:cubicBezTo>
                    <a:close/>
                    <a:moveTo>
                      <a:pt x="588027" y="66675"/>
                    </a:moveTo>
                    <a:cubicBezTo>
                      <a:pt x="675530" y="128933"/>
                      <a:pt x="735289" y="228402"/>
                      <a:pt x="744537" y="342184"/>
                    </a:cubicBezTo>
                    <a:cubicBezTo>
                      <a:pt x="739557" y="341469"/>
                      <a:pt x="735289" y="340753"/>
                      <a:pt x="731020" y="340753"/>
                    </a:cubicBezTo>
                    <a:cubicBezTo>
                      <a:pt x="724618" y="340753"/>
                      <a:pt x="718215" y="341469"/>
                      <a:pt x="713947" y="342900"/>
                    </a:cubicBezTo>
                    <a:cubicBezTo>
                      <a:pt x="704698" y="240568"/>
                      <a:pt x="650631" y="151117"/>
                      <a:pt x="573087" y="94584"/>
                    </a:cubicBezTo>
                    <a:cubicBezTo>
                      <a:pt x="579490" y="85996"/>
                      <a:pt x="585181" y="75978"/>
                      <a:pt x="588027" y="66675"/>
                    </a:cubicBezTo>
                    <a:close/>
                    <a:moveTo>
                      <a:pt x="454758" y="65088"/>
                    </a:moveTo>
                    <a:cubicBezTo>
                      <a:pt x="456898" y="75854"/>
                      <a:pt x="461892" y="86621"/>
                      <a:pt x="468312" y="94516"/>
                    </a:cubicBezTo>
                    <a:cubicBezTo>
                      <a:pt x="468312" y="94516"/>
                      <a:pt x="468312" y="94516"/>
                      <a:pt x="256441" y="200026"/>
                    </a:cubicBezTo>
                    <a:cubicBezTo>
                      <a:pt x="254301" y="189260"/>
                      <a:pt x="249308" y="179211"/>
                      <a:pt x="242887" y="171316"/>
                    </a:cubicBezTo>
                    <a:cubicBezTo>
                      <a:pt x="242887" y="171316"/>
                      <a:pt x="242887" y="171316"/>
                      <a:pt x="454758" y="65088"/>
                    </a:cubicBezTo>
                    <a:close/>
                    <a:moveTo>
                      <a:pt x="373682" y="0"/>
                    </a:moveTo>
                    <a:cubicBezTo>
                      <a:pt x="405834" y="0"/>
                      <a:pt x="435843" y="3569"/>
                      <a:pt x="465137" y="10707"/>
                    </a:cubicBezTo>
                    <a:cubicBezTo>
                      <a:pt x="458707" y="19272"/>
                      <a:pt x="455134" y="29265"/>
                      <a:pt x="453705" y="40685"/>
                    </a:cubicBezTo>
                    <a:cubicBezTo>
                      <a:pt x="427983" y="34261"/>
                      <a:pt x="401547" y="31406"/>
                      <a:pt x="373682" y="31406"/>
                    </a:cubicBezTo>
                    <a:cubicBezTo>
                      <a:pt x="185769" y="31406"/>
                      <a:pt x="31438" y="184155"/>
                      <a:pt x="31438" y="371879"/>
                    </a:cubicBezTo>
                    <a:cubicBezTo>
                      <a:pt x="31438" y="402571"/>
                      <a:pt x="35725" y="433264"/>
                      <a:pt x="43584" y="462529"/>
                    </a:cubicBezTo>
                    <a:cubicBezTo>
                      <a:pt x="32867" y="463956"/>
                      <a:pt x="23578" y="468953"/>
                      <a:pt x="15004" y="474663"/>
                    </a:cubicBezTo>
                    <a:cubicBezTo>
                      <a:pt x="5001" y="441829"/>
                      <a:pt x="0" y="406854"/>
                      <a:pt x="0" y="371879"/>
                    </a:cubicBezTo>
                    <a:cubicBezTo>
                      <a:pt x="0" y="167024"/>
                      <a:pt x="167907" y="0"/>
                      <a:pt x="373682"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1" name="Freeform 11">
                <a:extLst>
                  <a:ext uri="{FF2B5EF4-FFF2-40B4-BE49-F238E27FC236}">
                    <a16:creationId xmlns:a16="http://schemas.microsoft.com/office/drawing/2014/main" id="{C301DA16-F173-EBEB-1935-5B1627C4B3FF}"/>
                  </a:ext>
                </a:extLst>
              </p:cNvPr>
              <p:cNvSpPr>
                <a:spLocks/>
              </p:cNvSpPr>
              <p:nvPr/>
            </p:nvSpPr>
            <p:spPr bwMode="auto">
              <a:xfrm>
                <a:off x="5741987" y="2811463"/>
                <a:ext cx="746124" cy="1241425"/>
              </a:xfrm>
              <a:custGeom>
                <a:avLst/>
                <a:gdLst>
                  <a:gd name="connsiteX0" fmla="*/ 222250 w 746124"/>
                  <a:gd name="connsiteY0" fmla="*/ 1169987 h 1241425"/>
                  <a:gd name="connsiteX1" fmla="*/ 222250 w 746124"/>
                  <a:gd name="connsiteY1" fmla="*/ 1187911 h 1241425"/>
                  <a:gd name="connsiteX2" fmla="*/ 351434 w 746124"/>
                  <a:gd name="connsiteY2" fmla="*/ 1208702 h 1241425"/>
                  <a:gd name="connsiteX3" fmla="*/ 354289 w 746124"/>
                  <a:gd name="connsiteY3" fmla="*/ 1208702 h 1241425"/>
                  <a:gd name="connsiteX4" fmla="*/ 484187 w 746124"/>
                  <a:gd name="connsiteY4" fmla="*/ 1187911 h 1241425"/>
                  <a:gd name="connsiteX5" fmla="*/ 484187 w 746124"/>
                  <a:gd name="connsiteY5" fmla="*/ 1169987 h 1241425"/>
                  <a:gd name="connsiteX6" fmla="*/ 222250 w 746124"/>
                  <a:gd name="connsiteY6" fmla="*/ 1169987 h 1241425"/>
                  <a:gd name="connsiteX7" fmla="*/ 153987 w 746124"/>
                  <a:gd name="connsiteY7" fmla="*/ 1089025 h 1241425"/>
                  <a:gd name="connsiteX8" fmla="*/ 153987 w 746124"/>
                  <a:gd name="connsiteY8" fmla="*/ 1138238 h 1241425"/>
                  <a:gd name="connsiteX9" fmla="*/ 552449 w 746124"/>
                  <a:gd name="connsiteY9" fmla="*/ 1138238 h 1241425"/>
                  <a:gd name="connsiteX10" fmla="*/ 552449 w 746124"/>
                  <a:gd name="connsiteY10" fmla="*/ 1089025 h 1241425"/>
                  <a:gd name="connsiteX11" fmla="*/ 153987 w 746124"/>
                  <a:gd name="connsiteY11" fmla="*/ 1089025 h 1241425"/>
                  <a:gd name="connsiteX12" fmla="*/ 153987 w 746124"/>
                  <a:gd name="connsiteY12" fmla="*/ 1011237 h 1241425"/>
                  <a:gd name="connsiteX13" fmla="*/ 153987 w 746124"/>
                  <a:gd name="connsiteY13" fmla="*/ 1057275 h 1241425"/>
                  <a:gd name="connsiteX14" fmla="*/ 552449 w 746124"/>
                  <a:gd name="connsiteY14" fmla="*/ 1057275 h 1241425"/>
                  <a:gd name="connsiteX15" fmla="*/ 552449 w 746124"/>
                  <a:gd name="connsiteY15" fmla="*/ 1011237 h 1241425"/>
                  <a:gd name="connsiteX16" fmla="*/ 153987 w 746124"/>
                  <a:gd name="connsiteY16" fmla="*/ 1011237 h 1241425"/>
                  <a:gd name="connsiteX17" fmla="*/ 153987 w 746124"/>
                  <a:gd name="connsiteY17" fmla="*/ 919162 h 1241425"/>
                  <a:gd name="connsiteX18" fmla="*/ 153987 w 746124"/>
                  <a:gd name="connsiteY18" fmla="*/ 979487 h 1241425"/>
                  <a:gd name="connsiteX19" fmla="*/ 552449 w 746124"/>
                  <a:gd name="connsiteY19" fmla="*/ 979487 h 1241425"/>
                  <a:gd name="connsiteX20" fmla="*/ 552449 w 746124"/>
                  <a:gd name="connsiteY20" fmla="*/ 919162 h 1241425"/>
                  <a:gd name="connsiteX21" fmla="*/ 153987 w 746124"/>
                  <a:gd name="connsiteY21" fmla="*/ 919162 h 1241425"/>
                  <a:gd name="connsiteX22" fmla="*/ 154469 w 746124"/>
                  <a:gd name="connsiteY22" fmla="*/ 887412 h 1241425"/>
                  <a:gd name="connsiteX23" fmla="*/ 168010 w 746124"/>
                  <a:gd name="connsiteY23" fmla="*/ 887412 h 1241425"/>
                  <a:gd name="connsiteX24" fmla="*/ 199367 w 746124"/>
                  <a:gd name="connsiteY24" fmla="*/ 887412 h 1241425"/>
                  <a:gd name="connsiteX25" fmla="*/ 505808 w 746124"/>
                  <a:gd name="connsiteY25" fmla="*/ 887412 h 1241425"/>
                  <a:gd name="connsiteX26" fmla="*/ 537165 w 746124"/>
                  <a:gd name="connsiteY26" fmla="*/ 887412 h 1241425"/>
                  <a:gd name="connsiteX27" fmla="*/ 553556 w 746124"/>
                  <a:gd name="connsiteY27" fmla="*/ 887412 h 1241425"/>
                  <a:gd name="connsiteX28" fmla="*/ 584200 w 746124"/>
                  <a:gd name="connsiteY28" fmla="*/ 917450 h 1241425"/>
                  <a:gd name="connsiteX29" fmla="*/ 584200 w 746124"/>
                  <a:gd name="connsiteY29" fmla="*/ 980385 h 1241425"/>
                  <a:gd name="connsiteX30" fmla="*/ 580637 w 746124"/>
                  <a:gd name="connsiteY30" fmla="*/ 995404 h 1241425"/>
                  <a:gd name="connsiteX31" fmla="*/ 584200 w 746124"/>
                  <a:gd name="connsiteY31" fmla="*/ 1010423 h 1241425"/>
                  <a:gd name="connsiteX32" fmla="*/ 584200 w 746124"/>
                  <a:gd name="connsiteY32" fmla="*/ 1059055 h 1241425"/>
                  <a:gd name="connsiteX33" fmla="*/ 580637 w 746124"/>
                  <a:gd name="connsiteY33" fmla="*/ 1074074 h 1241425"/>
                  <a:gd name="connsiteX34" fmla="*/ 584200 w 746124"/>
                  <a:gd name="connsiteY34" fmla="*/ 1089092 h 1241425"/>
                  <a:gd name="connsiteX35" fmla="*/ 584200 w 746124"/>
                  <a:gd name="connsiteY35" fmla="*/ 1139870 h 1241425"/>
                  <a:gd name="connsiteX36" fmla="*/ 553556 w 746124"/>
                  <a:gd name="connsiteY36" fmla="*/ 1170623 h 1241425"/>
                  <a:gd name="connsiteX37" fmla="*/ 515073 w 746124"/>
                  <a:gd name="connsiteY37" fmla="*/ 1170623 h 1241425"/>
                  <a:gd name="connsiteX38" fmla="*/ 515073 w 746124"/>
                  <a:gd name="connsiteY38" fmla="*/ 1198514 h 1241425"/>
                  <a:gd name="connsiteX39" fmla="*/ 505808 w 746124"/>
                  <a:gd name="connsiteY39" fmla="*/ 1212818 h 1241425"/>
                  <a:gd name="connsiteX40" fmla="*/ 370404 w 746124"/>
                  <a:gd name="connsiteY40" fmla="*/ 1241425 h 1241425"/>
                  <a:gd name="connsiteX41" fmla="*/ 352587 w 746124"/>
                  <a:gd name="connsiteY41" fmla="*/ 1240710 h 1241425"/>
                  <a:gd name="connsiteX42" fmla="*/ 334771 w 746124"/>
                  <a:gd name="connsiteY42" fmla="*/ 1241425 h 1241425"/>
                  <a:gd name="connsiteX43" fmla="*/ 200079 w 746124"/>
                  <a:gd name="connsiteY43" fmla="*/ 1212818 h 1241425"/>
                  <a:gd name="connsiteX44" fmla="*/ 190815 w 746124"/>
                  <a:gd name="connsiteY44" fmla="*/ 1198514 h 1241425"/>
                  <a:gd name="connsiteX45" fmla="*/ 190815 w 746124"/>
                  <a:gd name="connsiteY45" fmla="*/ 1170623 h 1241425"/>
                  <a:gd name="connsiteX46" fmla="*/ 154469 w 746124"/>
                  <a:gd name="connsiteY46" fmla="*/ 1170623 h 1241425"/>
                  <a:gd name="connsiteX47" fmla="*/ 123825 w 746124"/>
                  <a:gd name="connsiteY47" fmla="*/ 1139870 h 1241425"/>
                  <a:gd name="connsiteX48" fmla="*/ 123825 w 746124"/>
                  <a:gd name="connsiteY48" fmla="*/ 1089092 h 1241425"/>
                  <a:gd name="connsiteX49" fmla="*/ 128101 w 746124"/>
                  <a:gd name="connsiteY49" fmla="*/ 1074074 h 1241425"/>
                  <a:gd name="connsiteX50" fmla="*/ 123825 w 746124"/>
                  <a:gd name="connsiteY50" fmla="*/ 1059055 h 1241425"/>
                  <a:gd name="connsiteX51" fmla="*/ 123825 w 746124"/>
                  <a:gd name="connsiteY51" fmla="*/ 1010423 h 1241425"/>
                  <a:gd name="connsiteX52" fmla="*/ 128101 w 746124"/>
                  <a:gd name="connsiteY52" fmla="*/ 995404 h 1241425"/>
                  <a:gd name="connsiteX53" fmla="*/ 123825 w 746124"/>
                  <a:gd name="connsiteY53" fmla="*/ 980385 h 1241425"/>
                  <a:gd name="connsiteX54" fmla="*/ 123825 w 746124"/>
                  <a:gd name="connsiteY54" fmla="*/ 917450 h 1241425"/>
                  <a:gd name="connsiteX55" fmla="*/ 154469 w 746124"/>
                  <a:gd name="connsiteY55" fmla="*/ 887412 h 1241425"/>
                  <a:gd name="connsiteX56" fmla="*/ 530225 w 746124"/>
                  <a:gd name="connsiteY56" fmla="*/ 722312 h 1241425"/>
                  <a:gd name="connsiteX57" fmla="*/ 568325 w 746124"/>
                  <a:gd name="connsiteY57" fmla="*/ 759619 h 1241425"/>
                  <a:gd name="connsiteX58" fmla="*/ 530225 w 746124"/>
                  <a:gd name="connsiteY58" fmla="*/ 796926 h 1241425"/>
                  <a:gd name="connsiteX59" fmla="*/ 492125 w 746124"/>
                  <a:gd name="connsiteY59" fmla="*/ 759619 h 1241425"/>
                  <a:gd name="connsiteX60" fmla="*/ 530225 w 746124"/>
                  <a:gd name="connsiteY60" fmla="*/ 722312 h 1241425"/>
                  <a:gd name="connsiteX61" fmla="*/ 289718 w 746124"/>
                  <a:gd name="connsiteY61" fmla="*/ 579437 h 1241425"/>
                  <a:gd name="connsiteX62" fmla="*/ 327024 w 746124"/>
                  <a:gd name="connsiteY62" fmla="*/ 616744 h 1241425"/>
                  <a:gd name="connsiteX63" fmla="*/ 289718 w 746124"/>
                  <a:gd name="connsiteY63" fmla="*/ 654051 h 1241425"/>
                  <a:gd name="connsiteX64" fmla="*/ 252412 w 746124"/>
                  <a:gd name="connsiteY64" fmla="*/ 616744 h 1241425"/>
                  <a:gd name="connsiteX65" fmla="*/ 289718 w 746124"/>
                  <a:gd name="connsiteY65" fmla="*/ 579437 h 1241425"/>
                  <a:gd name="connsiteX66" fmla="*/ 36513 w 746124"/>
                  <a:gd name="connsiteY66" fmla="*/ 477837 h 1241425"/>
                  <a:gd name="connsiteX67" fmla="*/ 73026 w 746124"/>
                  <a:gd name="connsiteY67" fmla="*/ 515144 h 1241425"/>
                  <a:gd name="connsiteX68" fmla="*/ 36513 w 746124"/>
                  <a:gd name="connsiteY68" fmla="*/ 552451 h 1241425"/>
                  <a:gd name="connsiteX69" fmla="*/ 0 w 746124"/>
                  <a:gd name="connsiteY69" fmla="*/ 515144 h 1241425"/>
                  <a:gd name="connsiteX70" fmla="*/ 36513 w 746124"/>
                  <a:gd name="connsiteY70" fmla="*/ 477837 h 1241425"/>
                  <a:gd name="connsiteX71" fmla="*/ 708818 w 746124"/>
                  <a:gd name="connsiteY71" fmla="*/ 357187 h 1241425"/>
                  <a:gd name="connsiteX72" fmla="*/ 746124 w 746124"/>
                  <a:gd name="connsiteY72" fmla="*/ 394494 h 1241425"/>
                  <a:gd name="connsiteX73" fmla="*/ 708818 w 746124"/>
                  <a:gd name="connsiteY73" fmla="*/ 431801 h 1241425"/>
                  <a:gd name="connsiteX74" fmla="*/ 671512 w 746124"/>
                  <a:gd name="connsiteY74" fmla="*/ 394494 h 1241425"/>
                  <a:gd name="connsiteX75" fmla="*/ 708818 w 746124"/>
                  <a:gd name="connsiteY75" fmla="*/ 357187 h 1241425"/>
                  <a:gd name="connsiteX76" fmla="*/ 437001 w 746124"/>
                  <a:gd name="connsiteY76" fmla="*/ 306387 h 1241425"/>
                  <a:gd name="connsiteX77" fmla="*/ 474662 w 746124"/>
                  <a:gd name="connsiteY77" fmla="*/ 342899 h 1241425"/>
                  <a:gd name="connsiteX78" fmla="*/ 437001 w 746124"/>
                  <a:gd name="connsiteY78" fmla="*/ 379412 h 1241425"/>
                  <a:gd name="connsiteX79" fmla="*/ 400050 w 746124"/>
                  <a:gd name="connsiteY79" fmla="*/ 342899 h 1241425"/>
                  <a:gd name="connsiteX80" fmla="*/ 437001 w 746124"/>
                  <a:gd name="connsiteY80" fmla="*/ 306387 h 1241425"/>
                  <a:gd name="connsiteX81" fmla="*/ 168275 w 746124"/>
                  <a:gd name="connsiteY81" fmla="*/ 161925 h 1241425"/>
                  <a:gd name="connsiteX82" fmla="*/ 204787 w 746124"/>
                  <a:gd name="connsiteY82" fmla="*/ 198083 h 1241425"/>
                  <a:gd name="connsiteX83" fmla="*/ 168275 w 746124"/>
                  <a:gd name="connsiteY83" fmla="*/ 234950 h 1241425"/>
                  <a:gd name="connsiteX84" fmla="*/ 131762 w 746124"/>
                  <a:gd name="connsiteY84" fmla="*/ 198083 h 1241425"/>
                  <a:gd name="connsiteX85" fmla="*/ 168275 w 746124"/>
                  <a:gd name="connsiteY85" fmla="*/ 161925 h 1241425"/>
                  <a:gd name="connsiteX86" fmla="*/ 500063 w 746124"/>
                  <a:gd name="connsiteY86" fmla="*/ 0 h 1241425"/>
                  <a:gd name="connsiteX87" fmla="*/ 536576 w 746124"/>
                  <a:gd name="connsiteY87" fmla="*/ 36513 h 1241425"/>
                  <a:gd name="connsiteX88" fmla="*/ 500063 w 746124"/>
                  <a:gd name="connsiteY88" fmla="*/ 73026 h 1241425"/>
                  <a:gd name="connsiteX89" fmla="*/ 463550 w 746124"/>
                  <a:gd name="connsiteY89" fmla="*/ 36513 h 1241425"/>
                  <a:gd name="connsiteX90" fmla="*/ 500063 w 746124"/>
                  <a:gd name="connsiteY90" fmla="*/ 0 h 124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46124" h="1241425">
                    <a:moveTo>
                      <a:pt x="222250" y="1169987"/>
                    </a:moveTo>
                    <a:cubicBezTo>
                      <a:pt x="222250" y="1169987"/>
                      <a:pt x="222250" y="1169987"/>
                      <a:pt x="222250" y="1187911"/>
                    </a:cubicBezTo>
                    <a:cubicBezTo>
                      <a:pt x="289340" y="1214437"/>
                      <a:pt x="350721" y="1208702"/>
                      <a:pt x="351434" y="1208702"/>
                    </a:cubicBezTo>
                    <a:cubicBezTo>
                      <a:pt x="352148" y="1208702"/>
                      <a:pt x="353576" y="1208702"/>
                      <a:pt x="354289" y="1208702"/>
                    </a:cubicBezTo>
                    <a:cubicBezTo>
                      <a:pt x="355003" y="1208702"/>
                      <a:pt x="416383" y="1214437"/>
                      <a:pt x="484187" y="1187911"/>
                    </a:cubicBezTo>
                    <a:cubicBezTo>
                      <a:pt x="484187" y="1187911"/>
                      <a:pt x="484187" y="1187911"/>
                      <a:pt x="484187" y="1169987"/>
                    </a:cubicBezTo>
                    <a:cubicBezTo>
                      <a:pt x="484187" y="1169987"/>
                      <a:pt x="484187" y="1169987"/>
                      <a:pt x="222250" y="1169987"/>
                    </a:cubicBezTo>
                    <a:close/>
                    <a:moveTo>
                      <a:pt x="153987" y="1089025"/>
                    </a:moveTo>
                    <a:cubicBezTo>
                      <a:pt x="153987" y="1089025"/>
                      <a:pt x="153987" y="1089025"/>
                      <a:pt x="153987" y="1138238"/>
                    </a:cubicBezTo>
                    <a:cubicBezTo>
                      <a:pt x="153987" y="1138238"/>
                      <a:pt x="153987" y="1138238"/>
                      <a:pt x="552449" y="1138238"/>
                    </a:cubicBezTo>
                    <a:cubicBezTo>
                      <a:pt x="552449" y="1138238"/>
                      <a:pt x="552449" y="1138238"/>
                      <a:pt x="552449" y="1089025"/>
                    </a:cubicBezTo>
                    <a:cubicBezTo>
                      <a:pt x="552449" y="1089025"/>
                      <a:pt x="552449" y="1089025"/>
                      <a:pt x="153987" y="1089025"/>
                    </a:cubicBezTo>
                    <a:close/>
                    <a:moveTo>
                      <a:pt x="153987" y="1011237"/>
                    </a:moveTo>
                    <a:cubicBezTo>
                      <a:pt x="153987" y="1011237"/>
                      <a:pt x="153987" y="1011237"/>
                      <a:pt x="153987" y="1057275"/>
                    </a:cubicBezTo>
                    <a:cubicBezTo>
                      <a:pt x="153987" y="1057275"/>
                      <a:pt x="153987" y="1057275"/>
                      <a:pt x="552449" y="1057275"/>
                    </a:cubicBezTo>
                    <a:cubicBezTo>
                      <a:pt x="552449" y="1057275"/>
                      <a:pt x="552449" y="1057275"/>
                      <a:pt x="552449" y="1011237"/>
                    </a:cubicBezTo>
                    <a:cubicBezTo>
                      <a:pt x="552449" y="1011237"/>
                      <a:pt x="552449" y="1011237"/>
                      <a:pt x="153987" y="1011237"/>
                    </a:cubicBezTo>
                    <a:close/>
                    <a:moveTo>
                      <a:pt x="153987" y="919162"/>
                    </a:moveTo>
                    <a:cubicBezTo>
                      <a:pt x="153987" y="919162"/>
                      <a:pt x="153987" y="919162"/>
                      <a:pt x="153987" y="979487"/>
                    </a:cubicBezTo>
                    <a:cubicBezTo>
                      <a:pt x="153987" y="979487"/>
                      <a:pt x="153987" y="979487"/>
                      <a:pt x="552449" y="979487"/>
                    </a:cubicBezTo>
                    <a:cubicBezTo>
                      <a:pt x="552449" y="979487"/>
                      <a:pt x="552449" y="979487"/>
                      <a:pt x="552449" y="919162"/>
                    </a:cubicBezTo>
                    <a:cubicBezTo>
                      <a:pt x="552449" y="919162"/>
                      <a:pt x="552449" y="919162"/>
                      <a:pt x="153987" y="919162"/>
                    </a:cubicBezTo>
                    <a:close/>
                    <a:moveTo>
                      <a:pt x="154469" y="887412"/>
                    </a:moveTo>
                    <a:cubicBezTo>
                      <a:pt x="154469" y="887412"/>
                      <a:pt x="154469" y="887412"/>
                      <a:pt x="168010" y="887412"/>
                    </a:cubicBezTo>
                    <a:cubicBezTo>
                      <a:pt x="174424" y="887412"/>
                      <a:pt x="184401" y="887412"/>
                      <a:pt x="199367" y="887412"/>
                    </a:cubicBezTo>
                    <a:cubicBezTo>
                      <a:pt x="243551" y="887412"/>
                      <a:pt x="331208" y="887412"/>
                      <a:pt x="505808" y="887412"/>
                    </a:cubicBezTo>
                    <a:cubicBezTo>
                      <a:pt x="515785" y="887412"/>
                      <a:pt x="525763" y="887412"/>
                      <a:pt x="537165" y="887412"/>
                    </a:cubicBezTo>
                    <a:cubicBezTo>
                      <a:pt x="542154" y="887412"/>
                      <a:pt x="547855" y="887412"/>
                      <a:pt x="553556" y="887412"/>
                    </a:cubicBezTo>
                    <a:cubicBezTo>
                      <a:pt x="570660" y="887412"/>
                      <a:pt x="584200" y="900285"/>
                      <a:pt x="584200" y="917450"/>
                    </a:cubicBezTo>
                    <a:cubicBezTo>
                      <a:pt x="584200" y="917450"/>
                      <a:pt x="584200" y="917450"/>
                      <a:pt x="584200" y="980385"/>
                    </a:cubicBezTo>
                    <a:cubicBezTo>
                      <a:pt x="584200" y="986107"/>
                      <a:pt x="582775" y="991113"/>
                      <a:pt x="580637" y="995404"/>
                    </a:cubicBezTo>
                    <a:cubicBezTo>
                      <a:pt x="582775" y="999695"/>
                      <a:pt x="584200" y="1004701"/>
                      <a:pt x="584200" y="1010423"/>
                    </a:cubicBezTo>
                    <a:cubicBezTo>
                      <a:pt x="584200" y="1010423"/>
                      <a:pt x="584200" y="1010423"/>
                      <a:pt x="584200" y="1059055"/>
                    </a:cubicBezTo>
                    <a:cubicBezTo>
                      <a:pt x="584200" y="1064061"/>
                      <a:pt x="582775" y="1069067"/>
                      <a:pt x="580637" y="1074074"/>
                    </a:cubicBezTo>
                    <a:cubicBezTo>
                      <a:pt x="582775" y="1078365"/>
                      <a:pt x="584200" y="1083371"/>
                      <a:pt x="584200" y="1089092"/>
                    </a:cubicBezTo>
                    <a:cubicBezTo>
                      <a:pt x="584200" y="1089092"/>
                      <a:pt x="584200" y="1089092"/>
                      <a:pt x="584200" y="1139870"/>
                    </a:cubicBezTo>
                    <a:cubicBezTo>
                      <a:pt x="584200" y="1157034"/>
                      <a:pt x="570660" y="1170623"/>
                      <a:pt x="553556" y="1170623"/>
                    </a:cubicBezTo>
                    <a:cubicBezTo>
                      <a:pt x="553556" y="1170623"/>
                      <a:pt x="553556" y="1170623"/>
                      <a:pt x="515073" y="1170623"/>
                    </a:cubicBezTo>
                    <a:cubicBezTo>
                      <a:pt x="515073" y="1170623"/>
                      <a:pt x="515073" y="1170623"/>
                      <a:pt x="515073" y="1198514"/>
                    </a:cubicBezTo>
                    <a:cubicBezTo>
                      <a:pt x="515073" y="1204951"/>
                      <a:pt x="511509" y="1210672"/>
                      <a:pt x="505808" y="1212818"/>
                    </a:cubicBezTo>
                    <a:cubicBezTo>
                      <a:pt x="450221" y="1237849"/>
                      <a:pt x="397485" y="1241425"/>
                      <a:pt x="370404" y="1241425"/>
                    </a:cubicBezTo>
                    <a:cubicBezTo>
                      <a:pt x="361852" y="1241425"/>
                      <a:pt x="355438" y="1241425"/>
                      <a:pt x="352587" y="1240710"/>
                    </a:cubicBezTo>
                    <a:cubicBezTo>
                      <a:pt x="349737" y="1240710"/>
                      <a:pt x="343323" y="1241425"/>
                      <a:pt x="334771" y="1241425"/>
                    </a:cubicBezTo>
                    <a:cubicBezTo>
                      <a:pt x="307690" y="1241425"/>
                      <a:pt x="254954" y="1237849"/>
                      <a:pt x="200079" y="1212818"/>
                    </a:cubicBezTo>
                    <a:cubicBezTo>
                      <a:pt x="194378" y="1210672"/>
                      <a:pt x="190815" y="1204951"/>
                      <a:pt x="190815" y="1198514"/>
                    </a:cubicBezTo>
                    <a:cubicBezTo>
                      <a:pt x="190815" y="1198514"/>
                      <a:pt x="190815" y="1198514"/>
                      <a:pt x="190815" y="1170623"/>
                    </a:cubicBezTo>
                    <a:cubicBezTo>
                      <a:pt x="190815" y="1170623"/>
                      <a:pt x="190815" y="1170623"/>
                      <a:pt x="154469" y="1170623"/>
                    </a:cubicBezTo>
                    <a:cubicBezTo>
                      <a:pt x="137366" y="1170623"/>
                      <a:pt x="123825" y="1157034"/>
                      <a:pt x="123825" y="1139870"/>
                    </a:cubicBezTo>
                    <a:cubicBezTo>
                      <a:pt x="123825" y="1139870"/>
                      <a:pt x="123825" y="1139870"/>
                      <a:pt x="123825" y="1089092"/>
                    </a:cubicBezTo>
                    <a:cubicBezTo>
                      <a:pt x="123825" y="1083371"/>
                      <a:pt x="125251" y="1078365"/>
                      <a:pt x="128101" y="1074074"/>
                    </a:cubicBezTo>
                    <a:cubicBezTo>
                      <a:pt x="125251" y="1069067"/>
                      <a:pt x="123825" y="1064061"/>
                      <a:pt x="123825" y="1059055"/>
                    </a:cubicBezTo>
                    <a:cubicBezTo>
                      <a:pt x="123825" y="1059055"/>
                      <a:pt x="123825" y="1059055"/>
                      <a:pt x="123825" y="1010423"/>
                    </a:cubicBezTo>
                    <a:cubicBezTo>
                      <a:pt x="123825" y="1004701"/>
                      <a:pt x="125251" y="999695"/>
                      <a:pt x="128101" y="995404"/>
                    </a:cubicBezTo>
                    <a:cubicBezTo>
                      <a:pt x="125251" y="991113"/>
                      <a:pt x="123825" y="986107"/>
                      <a:pt x="123825" y="980385"/>
                    </a:cubicBezTo>
                    <a:cubicBezTo>
                      <a:pt x="123825" y="980385"/>
                      <a:pt x="123825" y="980385"/>
                      <a:pt x="123825" y="917450"/>
                    </a:cubicBezTo>
                    <a:cubicBezTo>
                      <a:pt x="123825" y="900285"/>
                      <a:pt x="137366" y="887412"/>
                      <a:pt x="154469" y="887412"/>
                    </a:cubicBezTo>
                    <a:close/>
                    <a:moveTo>
                      <a:pt x="530225" y="722312"/>
                    </a:moveTo>
                    <a:cubicBezTo>
                      <a:pt x="551267" y="722312"/>
                      <a:pt x="568325" y="739015"/>
                      <a:pt x="568325" y="759619"/>
                    </a:cubicBezTo>
                    <a:cubicBezTo>
                      <a:pt x="568325" y="780223"/>
                      <a:pt x="551267" y="796926"/>
                      <a:pt x="530225" y="796926"/>
                    </a:cubicBezTo>
                    <a:cubicBezTo>
                      <a:pt x="509183" y="796926"/>
                      <a:pt x="492125" y="780223"/>
                      <a:pt x="492125" y="759619"/>
                    </a:cubicBezTo>
                    <a:cubicBezTo>
                      <a:pt x="492125" y="739015"/>
                      <a:pt x="509183" y="722312"/>
                      <a:pt x="530225" y="722312"/>
                    </a:cubicBezTo>
                    <a:close/>
                    <a:moveTo>
                      <a:pt x="289718" y="579437"/>
                    </a:moveTo>
                    <a:cubicBezTo>
                      <a:pt x="310322" y="579437"/>
                      <a:pt x="327024" y="596140"/>
                      <a:pt x="327024" y="616744"/>
                    </a:cubicBezTo>
                    <a:cubicBezTo>
                      <a:pt x="327024" y="637348"/>
                      <a:pt x="310322" y="654051"/>
                      <a:pt x="289718" y="654051"/>
                    </a:cubicBezTo>
                    <a:cubicBezTo>
                      <a:pt x="269114" y="654051"/>
                      <a:pt x="252412" y="637348"/>
                      <a:pt x="252412" y="616744"/>
                    </a:cubicBezTo>
                    <a:cubicBezTo>
                      <a:pt x="252412" y="596140"/>
                      <a:pt x="269114" y="579437"/>
                      <a:pt x="289718" y="579437"/>
                    </a:cubicBezTo>
                    <a:close/>
                    <a:moveTo>
                      <a:pt x="36513" y="477837"/>
                    </a:moveTo>
                    <a:cubicBezTo>
                      <a:pt x="56679" y="477837"/>
                      <a:pt x="73026" y="494540"/>
                      <a:pt x="73026" y="515144"/>
                    </a:cubicBezTo>
                    <a:cubicBezTo>
                      <a:pt x="73026" y="535748"/>
                      <a:pt x="56679" y="552451"/>
                      <a:pt x="36513" y="552451"/>
                    </a:cubicBezTo>
                    <a:cubicBezTo>
                      <a:pt x="16347" y="552451"/>
                      <a:pt x="0" y="535748"/>
                      <a:pt x="0" y="515144"/>
                    </a:cubicBezTo>
                    <a:cubicBezTo>
                      <a:pt x="0" y="494540"/>
                      <a:pt x="16347" y="477837"/>
                      <a:pt x="36513" y="477837"/>
                    </a:cubicBezTo>
                    <a:close/>
                    <a:moveTo>
                      <a:pt x="708818" y="357187"/>
                    </a:moveTo>
                    <a:cubicBezTo>
                      <a:pt x="729422" y="357187"/>
                      <a:pt x="746124" y="373890"/>
                      <a:pt x="746124" y="394494"/>
                    </a:cubicBezTo>
                    <a:cubicBezTo>
                      <a:pt x="746124" y="415098"/>
                      <a:pt x="729422" y="431801"/>
                      <a:pt x="708818" y="431801"/>
                    </a:cubicBezTo>
                    <a:cubicBezTo>
                      <a:pt x="688214" y="431801"/>
                      <a:pt x="671512" y="415098"/>
                      <a:pt x="671512" y="394494"/>
                    </a:cubicBezTo>
                    <a:cubicBezTo>
                      <a:pt x="671512" y="373890"/>
                      <a:pt x="688214" y="357187"/>
                      <a:pt x="708818" y="357187"/>
                    </a:cubicBezTo>
                    <a:close/>
                    <a:moveTo>
                      <a:pt x="437001" y="306387"/>
                    </a:moveTo>
                    <a:cubicBezTo>
                      <a:pt x="458319" y="306387"/>
                      <a:pt x="474662" y="322537"/>
                      <a:pt x="474662" y="342899"/>
                    </a:cubicBezTo>
                    <a:cubicBezTo>
                      <a:pt x="474662" y="362560"/>
                      <a:pt x="458319" y="379412"/>
                      <a:pt x="437001" y="379412"/>
                    </a:cubicBezTo>
                    <a:cubicBezTo>
                      <a:pt x="417104" y="379412"/>
                      <a:pt x="400050" y="362560"/>
                      <a:pt x="400050" y="342899"/>
                    </a:cubicBezTo>
                    <a:cubicBezTo>
                      <a:pt x="400050" y="322537"/>
                      <a:pt x="417104" y="306387"/>
                      <a:pt x="437001" y="306387"/>
                    </a:cubicBezTo>
                    <a:close/>
                    <a:moveTo>
                      <a:pt x="168275" y="161925"/>
                    </a:moveTo>
                    <a:cubicBezTo>
                      <a:pt x="187935" y="161925"/>
                      <a:pt x="204787" y="178940"/>
                      <a:pt x="204787" y="198083"/>
                    </a:cubicBezTo>
                    <a:cubicBezTo>
                      <a:pt x="204787" y="218643"/>
                      <a:pt x="187935" y="234950"/>
                      <a:pt x="168275" y="234950"/>
                    </a:cubicBezTo>
                    <a:cubicBezTo>
                      <a:pt x="147912" y="234950"/>
                      <a:pt x="131762" y="218643"/>
                      <a:pt x="131762" y="198083"/>
                    </a:cubicBezTo>
                    <a:cubicBezTo>
                      <a:pt x="131762" y="178940"/>
                      <a:pt x="147912" y="161925"/>
                      <a:pt x="168275" y="161925"/>
                    </a:cubicBezTo>
                    <a:close/>
                    <a:moveTo>
                      <a:pt x="500063" y="0"/>
                    </a:moveTo>
                    <a:cubicBezTo>
                      <a:pt x="520229" y="0"/>
                      <a:pt x="536576" y="16347"/>
                      <a:pt x="536576" y="36513"/>
                    </a:cubicBezTo>
                    <a:cubicBezTo>
                      <a:pt x="536576" y="56679"/>
                      <a:pt x="520229" y="73026"/>
                      <a:pt x="500063" y="73026"/>
                    </a:cubicBezTo>
                    <a:cubicBezTo>
                      <a:pt x="479897" y="73026"/>
                      <a:pt x="463550" y="56679"/>
                      <a:pt x="463550" y="36513"/>
                    </a:cubicBezTo>
                    <a:cubicBezTo>
                      <a:pt x="463550" y="16347"/>
                      <a:pt x="479897" y="0"/>
                      <a:pt x="500063" y="0"/>
                    </a:cubicBezTo>
                    <a:close/>
                  </a:path>
                </a:pathLst>
              </a:custGeom>
              <a:solidFill>
                <a:schemeClr val="accent2"/>
              </a:solidFill>
              <a:ln w="9525">
                <a:solidFill>
                  <a:srgbClr val="000000"/>
                </a:solidFill>
                <a:round/>
                <a:headEnd/>
                <a:tailEnd/>
              </a:ln>
            </p:spPr>
            <p:txBody>
              <a:bodyPr vert="horz" wrap="square" lIns="91440" tIns="45720" rIns="91440" bIns="45720" numCol="1" anchor="t" anchorCtr="0" compatLnSpc="1">
                <a:prstTxWarp prst="textNoShape">
                  <a:avLst/>
                </a:prstTxWarp>
                <a:noAutofit/>
              </a:bodyPr>
              <a:lstStyle/>
              <a:p>
                <a:endParaRPr lang="en-US"/>
              </a:p>
            </p:txBody>
          </p:sp>
        </p:grpSp>
      </p:grpSp>
      <p:grpSp>
        <p:nvGrpSpPr>
          <p:cNvPr id="12" name="bcgIcons_Obstacle ">
            <a:extLst>
              <a:ext uri="{FF2B5EF4-FFF2-40B4-BE49-F238E27FC236}">
                <a16:creationId xmlns:a16="http://schemas.microsoft.com/office/drawing/2014/main" id="{902F7A42-9125-155E-B9E8-53FB3246CA32}"/>
              </a:ext>
            </a:extLst>
          </p:cNvPr>
          <p:cNvGrpSpPr>
            <a:grpSpLocks noChangeAspect="1"/>
          </p:cNvGrpSpPr>
          <p:nvPr/>
        </p:nvGrpSpPr>
        <p:grpSpPr>
          <a:xfrm>
            <a:off x="9600712" y="1223278"/>
            <a:ext cx="1371600" cy="1371599"/>
            <a:chOff x="5273675" y="2611438"/>
            <a:chExt cx="1646238" cy="1646237"/>
          </a:xfrm>
        </p:grpSpPr>
        <p:sp>
          <p:nvSpPr>
            <p:cNvPr id="13" name="AutoShape 3">
              <a:extLst>
                <a:ext uri="{FF2B5EF4-FFF2-40B4-BE49-F238E27FC236}">
                  <a16:creationId xmlns:a16="http://schemas.microsoft.com/office/drawing/2014/main" id="{709ACE19-2228-C569-FE90-67AE52756BD1}"/>
                </a:ext>
              </a:extLst>
            </p:cNvPr>
            <p:cNvSpPr>
              <a:spLocks noChangeAspect="1" noChangeArrowheads="1" noTextEdit="1"/>
            </p:cNvSpPr>
            <p:nvPr/>
          </p:nvSpPr>
          <p:spPr bwMode="auto">
            <a:xfrm>
              <a:off x="5273675" y="2611438"/>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4" name="Group 13">
              <a:extLst>
                <a:ext uri="{FF2B5EF4-FFF2-40B4-BE49-F238E27FC236}">
                  <a16:creationId xmlns:a16="http://schemas.microsoft.com/office/drawing/2014/main" id="{4620813A-E0CC-C68E-BF7D-911CE558563B}"/>
                </a:ext>
              </a:extLst>
            </p:cNvPr>
            <p:cNvGrpSpPr/>
            <p:nvPr/>
          </p:nvGrpSpPr>
          <p:grpSpPr>
            <a:xfrm>
              <a:off x="5443538" y="3003550"/>
              <a:ext cx="1306513" cy="860425"/>
              <a:chOff x="5443538" y="3003550"/>
              <a:chExt cx="1306513" cy="860425"/>
            </a:xfrm>
          </p:grpSpPr>
          <p:sp>
            <p:nvSpPr>
              <p:cNvPr id="15" name="Freeform 12">
                <a:extLst>
                  <a:ext uri="{FF2B5EF4-FFF2-40B4-BE49-F238E27FC236}">
                    <a16:creationId xmlns:a16="http://schemas.microsoft.com/office/drawing/2014/main" id="{C9A9DA88-04BC-2C3C-9761-6DB175950B5E}"/>
                  </a:ext>
                </a:extLst>
              </p:cNvPr>
              <p:cNvSpPr>
                <a:spLocks/>
              </p:cNvSpPr>
              <p:nvPr/>
            </p:nvSpPr>
            <p:spPr bwMode="auto">
              <a:xfrm>
                <a:off x="5443538" y="3003550"/>
                <a:ext cx="1306513" cy="860425"/>
              </a:xfrm>
              <a:custGeom>
                <a:avLst/>
                <a:gdLst>
                  <a:gd name="connsiteX0" fmla="*/ 1036637 w 1306513"/>
                  <a:gd name="connsiteY0" fmla="*/ 366713 h 860425"/>
                  <a:gd name="connsiteX1" fmla="*/ 1036637 w 1306513"/>
                  <a:gd name="connsiteY1" fmla="*/ 828675 h 860425"/>
                  <a:gd name="connsiteX2" fmla="*/ 1122362 w 1306513"/>
                  <a:gd name="connsiteY2" fmla="*/ 828675 h 860425"/>
                  <a:gd name="connsiteX3" fmla="*/ 1122362 w 1306513"/>
                  <a:gd name="connsiteY3" fmla="*/ 366713 h 860425"/>
                  <a:gd name="connsiteX4" fmla="*/ 1036637 w 1306513"/>
                  <a:gd name="connsiteY4" fmla="*/ 366713 h 860425"/>
                  <a:gd name="connsiteX5" fmla="*/ 177800 w 1306513"/>
                  <a:gd name="connsiteY5" fmla="*/ 366713 h 860425"/>
                  <a:gd name="connsiteX6" fmla="*/ 177800 w 1306513"/>
                  <a:gd name="connsiteY6" fmla="*/ 828675 h 860425"/>
                  <a:gd name="connsiteX7" fmla="*/ 263525 w 1306513"/>
                  <a:gd name="connsiteY7" fmla="*/ 828675 h 860425"/>
                  <a:gd name="connsiteX8" fmla="*/ 263525 w 1306513"/>
                  <a:gd name="connsiteY8" fmla="*/ 366713 h 860425"/>
                  <a:gd name="connsiteX9" fmla="*/ 177800 w 1306513"/>
                  <a:gd name="connsiteY9" fmla="*/ 366713 h 860425"/>
                  <a:gd name="connsiteX10" fmla="*/ 83353 w 1306513"/>
                  <a:gd name="connsiteY10" fmla="*/ 31750 h 860425"/>
                  <a:gd name="connsiteX11" fmla="*/ 33337 w 1306513"/>
                  <a:gd name="connsiteY11" fmla="*/ 78948 h 860425"/>
                  <a:gd name="connsiteX12" fmla="*/ 33337 w 1306513"/>
                  <a:gd name="connsiteY12" fmla="*/ 287764 h 860425"/>
                  <a:gd name="connsiteX13" fmla="*/ 83353 w 1306513"/>
                  <a:gd name="connsiteY13" fmla="*/ 334962 h 860425"/>
                  <a:gd name="connsiteX14" fmla="*/ 1221571 w 1306513"/>
                  <a:gd name="connsiteY14" fmla="*/ 334962 h 860425"/>
                  <a:gd name="connsiteX15" fmla="*/ 1271587 w 1306513"/>
                  <a:gd name="connsiteY15" fmla="*/ 287764 h 860425"/>
                  <a:gd name="connsiteX16" fmla="*/ 1271587 w 1306513"/>
                  <a:gd name="connsiteY16" fmla="*/ 78948 h 860425"/>
                  <a:gd name="connsiteX17" fmla="*/ 1221571 w 1306513"/>
                  <a:gd name="connsiteY17" fmla="*/ 31750 h 860425"/>
                  <a:gd name="connsiteX18" fmla="*/ 83353 w 1306513"/>
                  <a:gd name="connsiteY18" fmla="*/ 31750 h 860425"/>
                  <a:gd name="connsiteX19" fmla="*/ 83623 w 1306513"/>
                  <a:gd name="connsiteY19" fmla="*/ 0 h 860425"/>
                  <a:gd name="connsiteX20" fmla="*/ 1222176 w 1306513"/>
                  <a:gd name="connsiteY20" fmla="*/ 0 h 860425"/>
                  <a:gd name="connsiteX21" fmla="*/ 1306513 w 1306513"/>
                  <a:gd name="connsiteY21" fmla="*/ 78610 h 860425"/>
                  <a:gd name="connsiteX22" fmla="*/ 1306513 w 1306513"/>
                  <a:gd name="connsiteY22" fmla="*/ 287285 h 860425"/>
                  <a:gd name="connsiteX23" fmla="*/ 1222176 w 1306513"/>
                  <a:gd name="connsiteY23" fmla="*/ 365895 h 860425"/>
                  <a:gd name="connsiteX24" fmla="*/ 1154277 w 1306513"/>
                  <a:gd name="connsiteY24" fmla="*/ 365895 h 860425"/>
                  <a:gd name="connsiteX25" fmla="*/ 1154277 w 1306513"/>
                  <a:gd name="connsiteY25" fmla="*/ 828981 h 860425"/>
                  <a:gd name="connsiteX26" fmla="*/ 1189299 w 1306513"/>
                  <a:gd name="connsiteY26" fmla="*/ 828981 h 860425"/>
                  <a:gd name="connsiteX27" fmla="*/ 1205023 w 1306513"/>
                  <a:gd name="connsiteY27" fmla="*/ 844703 h 860425"/>
                  <a:gd name="connsiteX28" fmla="*/ 1189299 w 1306513"/>
                  <a:gd name="connsiteY28" fmla="*/ 860425 h 860425"/>
                  <a:gd name="connsiteX29" fmla="*/ 974882 w 1306513"/>
                  <a:gd name="connsiteY29" fmla="*/ 860425 h 860425"/>
                  <a:gd name="connsiteX30" fmla="*/ 959158 w 1306513"/>
                  <a:gd name="connsiteY30" fmla="*/ 844703 h 860425"/>
                  <a:gd name="connsiteX31" fmla="*/ 974882 w 1306513"/>
                  <a:gd name="connsiteY31" fmla="*/ 828981 h 860425"/>
                  <a:gd name="connsiteX32" fmla="*/ 1005615 w 1306513"/>
                  <a:gd name="connsiteY32" fmla="*/ 828981 h 860425"/>
                  <a:gd name="connsiteX33" fmla="*/ 1005615 w 1306513"/>
                  <a:gd name="connsiteY33" fmla="*/ 365895 h 860425"/>
                  <a:gd name="connsiteX34" fmla="*/ 294466 w 1306513"/>
                  <a:gd name="connsiteY34" fmla="*/ 365895 h 860425"/>
                  <a:gd name="connsiteX35" fmla="*/ 294466 w 1306513"/>
                  <a:gd name="connsiteY35" fmla="*/ 828981 h 860425"/>
                  <a:gd name="connsiteX36" fmla="*/ 328773 w 1306513"/>
                  <a:gd name="connsiteY36" fmla="*/ 828981 h 860425"/>
                  <a:gd name="connsiteX37" fmla="*/ 344497 w 1306513"/>
                  <a:gd name="connsiteY37" fmla="*/ 844703 h 860425"/>
                  <a:gd name="connsiteX38" fmla="*/ 328773 w 1306513"/>
                  <a:gd name="connsiteY38" fmla="*/ 860425 h 860425"/>
                  <a:gd name="connsiteX39" fmla="*/ 114356 w 1306513"/>
                  <a:gd name="connsiteY39" fmla="*/ 860425 h 860425"/>
                  <a:gd name="connsiteX40" fmla="*/ 98632 w 1306513"/>
                  <a:gd name="connsiteY40" fmla="*/ 844703 h 860425"/>
                  <a:gd name="connsiteX41" fmla="*/ 114356 w 1306513"/>
                  <a:gd name="connsiteY41" fmla="*/ 828981 h 860425"/>
                  <a:gd name="connsiteX42" fmla="*/ 145804 w 1306513"/>
                  <a:gd name="connsiteY42" fmla="*/ 828981 h 860425"/>
                  <a:gd name="connsiteX43" fmla="*/ 145804 w 1306513"/>
                  <a:gd name="connsiteY43" fmla="*/ 365895 h 860425"/>
                  <a:gd name="connsiteX44" fmla="*/ 83623 w 1306513"/>
                  <a:gd name="connsiteY44" fmla="*/ 365895 h 860425"/>
                  <a:gd name="connsiteX45" fmla="*/ 0 w 1306513"/>
                  <a:gd name="connsiteY45" fmla="*/ 287285 h 860425"/>
                  <a:gd name="connsiteX46" fmla="*/ 0 w 1306513"/>
                  <a:gd name="connsiteY46" fmla="*/ 78610 h 860425"/>
                  <a:gd name="connsiteX47" fmla="*/ 83623 w 1306513"/>
                  <a:gd name="connsiteY47" fmla="*/ 0 h 86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306513" h="860425">
                    <a:moveTo>
                      <a:pt x="1036637" y="366713"/>
                    </a:moveTo>
                    <a:cubicBezTo>
                      <a:pt x="1036637" y="366713"/>
                      <a:pt x="1036637" y="366713"/>
                      <a:pt x="1036637" y="828675"/>
                    </a:cubicBezTo>
                    <a:cubicBezTo>
                      <a:pt x="1036637" y="828675"/>
                      <a:pt x="1036637" y="828675"/>
                      <a:pt x="1122362" y="828675"/>
                    </a:cubicBezTo>
                    <a:cubicBezTo>
                      <a:pt x="1122362" y="828675"/>
                      <a:pt x="1122362" y="828675"/>
                      <a:pt x="1122362" y="366713"/>
                    </a:cubicBezTo>
                    <a:cubicBezTo>
                      <a:pt x="1122362" y="366713"/>
                      <a:pt x="1122362" y="366713"/>
                      <a:pt x="1036637" y="366713"/>
                    </a:cubicBezTo>
                    <a:close/>
                    <a:moveTo>
                      <a:pt x="177800" y="366713"/>
                    </a:moveTo>
                    <a:cubicBezTo>
                      <a:pt x="177800" y="366713"/>
                      <a:pt x="177800" y="366713"/>
                      <a:pt x="177800" y="828675"/>
                    </a:cubicBezTo>
                    <a:cubicBezTo>
                      <a:pt x="177800" y="828675"/>
                      <a:pt x="177800" y="828675"/>
                      <a:pt x="263525" y="828675"/>
                    </a:cubicBezTo>
                    <a:cubicBezTo>
                      <a:pt x="263525" y="828675"/>
                      <a:pt x="263525" y="828675"/>
                      <a:pt x="263525" y="366713"/>
                    </a:cubicBezTo>
                    <a:cubicBezTo>
                      <a:pt x="263525" y="366713"/>
                      <a:pt x="263525" y="366713"/>
                      <a:pt x="177800" y="366713"/>
                    </a:cubicBezTo>
                    <a:close/>
                    <a:moveTo>
                      <a:pt x="83353" y="31750"/>
                    </a:moveTo>
                    <a:cubicBezTo>
                      <a:pt x="55487" y="31750"/>
                      <a:pt x="33337" y="52489"/>
                      <a:pt x="33337" y="78948"/>
                    </a:cubicBezTo>
                    <a:cubicBezTo>
                      <a:pt x="33337" y="78948"/>
                      <a:pt x="33337" y="78948"/>
                      <a:pt x="33337" y="287764"/>
                    </a:cubicBezTo>
                    <a:cubicBezTo>
                      <a:pt x="33337" y="313508"/>
                      <a:pt x="55487" y="334962"/>
                      <a:pt x="83353" y="334962"/>
                    </a:cubicBezTo>
                    <a:cubicBezTo>
                      <a:pt x="83353" y="334962"/>
                      <a:pt x="83353" y="334962"/>
                      <a:pt x="1221571" y="334962"/>
                    </a:cubicBezTo>
                    <a:cubicBezTo>
                      <a:pt x="1249437" y="334962"/>
                      <a:pt x="1271587" y="313508"/>
                      <a:pt x="1271587" y="287764"/>
                    </a:cubicBezTo>
                    <a:cubicBezTo>
                      <a:pt x="1271587" y="287764"/>
                      <a:pt x="1271587" y="287764"/>
                      <a:pt x="1271587" y="78948"/>
                    </a:cubicBezTo>
                    <a:cubicBezTo>
                      <a:pt x="1271587" y="52489"/>
                      <a:pt x="1249437" y="31750"/>
                      <a:pt x="1221571" y="31750"/>
                    </a:cubicBezTo>
                    <a:cubicBezTo>
                      <a:pt x="1221571" y="31750"/>
                      <a:pt x="1221571" y="31750"/>
                      <a:pt x="83353" y="31750"/>
                    </a:cubicBezTo>
                    <a:close/>
                    <a:moveTo>
                      <a:pt x="83623" y="0"/>
                    </a:moveTo>
                    <a:cubicBezTo>
                      <a:pt x="83623" y="0"/>
                      <a:pt x="83623" y="0"/>
                      <a:pt x="1222176" y="0"/>
                    </a:cubicBezTo>
                    <a:cubicBezTo>
                      <a:pt x="1268633" y="0"/>
                      <a:pt x="1306513" y="35017"/>
                      <a:pt x="1306513" y="78610"/>
                    </a:cubicBezTo>
                    <a:cubicBezTo>
                      <a:pt x="1306513" y="78610"/>
                      <a:pt x="1306513" y="78610"/>
                      <a:pt x="1306513" y="287285"/>
                    </a:cubicBezTo>
                    <a:cubicBezTo>
                      <a:pt x="1306513" y="330163"/>
                      <a:pt x="1268633" y="365895"/>
                      <a:pt x="1222176" y="365895"/>
                    </a:cubicBezTo>
                    <a:cubicBezTo>
                      <a:pt x="1222176" y="365895"/>
                      <a:pt x="1222176" y="365895"/>
                      <a:pt x="1154277" y="365895"/>
                    </a:cubicBezTo>
                    <a:cubicBezTo>
                      <a:pt x="1154277" y="365895"/>
                      <a:pt x="1154277" y="365895"/>
                      <a:pt x="1154277" y="828981"/>
                    </a:cubicBezTo>
                    <a:cubicBezTo>
                      <a:pt x="1154277" y="828981"/>
                      <a:pt x="1154277" y="828981"/>
                      <a:pt x="1189299" y="828981"/>
                    </a:cubicBezTo>
                    <a:cubicBezTo>
                      <a:pt x="1197875" y="828981"/>
                      <a:pt x="1205023" y="836127"/>
                      <a:pt x="1205023" y="844703"/>
                    </a:cubicBezTo>
                    <a:cubicBezTo>
                      <a:pt x="1205023" y="853279"/>
                      <a:pt x="1197875" y="860425"/>
                      <a:pt x="1189299" y="860425"/>
                    </a:cubicBezTo>
                    <a:cubicBezTo>
                      <a:pt x="1189299" y="860425"/>
                      <a:pt x="1189299" y="860425"/>
                      <a:pt x="974882" y="860425"/>
                    </a:cubicBezTo>
                    <a:cubicBezTo>
                      <a:pt x="966305" y="860425"/>
                      <a:pt x="959158" y="853279"/>
                      <a:pt x="959158" y="844703"/>
                    </a:cubicBezTo>
                    <a:cubicBezTo>
                      <a:pt x="959158" y="836127"/>
                      <a:pt x="966305" y="828981"/>
                      <a:pt x="974882" y="828981"/>
                    </a:cubicBezTo>
                    <a:cubicBezTo>
                      <a:pt x="974882" y="828981"/>
                      <a:pt x="974882" y="828981"/>
                      <a:pt x="1005615" y="828981"/>
                    </a:cubicBezTo>
                    <a:cubicBezTo>
                      <a:pt x="1005615" y="828981"/>
                      <a:pt x="1005615" y="828981"/>
                      <a:pt x="1005615" y="365895"/>
                    </a:cubicBezTo>
                    <a:cubicBezTo>
                      <a:pt x="1005615" y="365895"/>
                      <a:pt x="1005615" y="365895"/>
                      <a:pt x="294466" y="365895"/>
                    </a:cubicBezTo>
                    <a:cubicBezTo>
                      <a:pt x="294466" y="365895"/>
                      <a:pt x="294466" y="365895"/>
                      <a:pt x="294466" y="828981"/>
                    </a:cubicBezTo>
                    <a:cubicBezTo>
                      <a:pt x="294466" y="828981"/>
                      <a:pt x="294466" y="828981"/>
                      <a:pt x="328773" y="828981"/>
                    </a:cubicBezTo>
                    <a:cubicBezTo>
                      <a:pt x="337349" y="828981"/>
                      <a:pt x="344497" y="836127"/>
                      <a:pt x="344497" y="844703"/>
                    </a:cubicBezTo>
                    <a:cubicBezTo>
                      <a:pt x="344497" y="853279"/>
                      <a:pt x="337349" y="860425"/>
                      <a:pt x="328773" y="860425"/>
                    </a:cubicBezTo>
                    <a:cubicBezTo>
                      <a:pt x="328773" y="860425"/>
                      <a:pt x="328773" y="860425"/>
                      <a:pt x="114356" y="860425"/>
                    </a:cubicBezTo>
                    <a:cubicBezTo>
                      <a:pt x="105779" y="860425"/>
                      <a:pt x="98632" y="853279"/>
                      <a:pt x="98632" y="844703"/>
                    </a:cubicBezTo>
                    <a:cubicBezTo>
                      <a:pt x="98632" y="836127"/>
                      <a:pt x="105779" y="828981"/>
                      <a:pt x="114356" y="828981"/>
                    </a:cubicBezTo>
                    <a:cubicBezTo>
                      <a:pt x="114356" y="828981"/>
                      <a:pt x="114356" y="828981"/>
                      <a:pt x="145804" y="828981"/>
                    </a:cubicBezTo>
                    <a:cubicBezTo>
                      <a:pt x="145804" y="828981"/>
                      <a:pt x="145804" y="828981"/>
                      <a:pt x="145804" y="365895"/>
                    </a:cubicBezTo>
                    <a:cubicBezTo>
                      <a:pt x="145804" y="365895"/>
                      <a:pt x="145804" y="365895"/>
                      <a:pt x="83623" y="365895"/>
                    </a:cubicBezTo>
                    <a:cubicBezTo>
                      <a:pt x="37166" y="365895"/>
                      <a:pt x="0" y="330163"/>
                      <a:pt x="0" y="287285"/>
                    </a:cubicBezTo>
                    <a:cubicBezTo>
                      <a:pt x="0" y="287285"/>
                      <a:pt x="0" y="287285"/>
                      <a:pt x="0" y="78610"/>
                    </a:cubicBezTo>
                    <a:cubicBezTo>
                      <a:pt x="0" y="35017"/>
                      <a:pt x="37166" y="0"/>
                      <a:pt x="8362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16" name="Freeform 9">
                <a:extLst>
                  <a:ext uri="{FF2B5EF4-FFF2-40B4-BE49-F238E27FC236}">
                    <a16:creationId xmlns:a16="http://schemas.microsoft.com/office/drawing/2014/main" id="{B8056BF9-3DBD-6C6A-5123-967211372FAE}"/>
                  </a:ext>
                </a:extLst>
              </p:cNvPr>
              <p:cNvSpPr>
                <a:spLocks noEditPoints="1"/>
              </p:cNvSpPr>
              <p:nvPr/>
            </p:nvSpPr>
            <p:spPr bwMode="auto">
              <a:xfrm>
                <a:off x="5510213" y="3065463"/>
                <a:ext cx="1173163" cy="241300"/>
              </a:xfrm>
              <a:custGeom>
                <a:avLst/>
                <a:gdLst>
                  <a:gd name="T0" fmla="*/ 485 w 1640"/>
                  <a:gd name="T1" fmla="*/ 0 h 338"/>
                  <a:gd name="T2" fmla="*/ 223 w 1640"/>
                  <a:gd name="T3" fmla="*/ 338 h 338"/>
                  <a:gd name="T4" fmla="*/ 607 w 1640"/>
                  <a:gd name="T5" fmla="*/ 338 h 338"/>
                  <a:gd name="T6" fmla="*/ 870 w 1640"/>
                  <a:gd name="T7" fmla="*/ 0 h 338"/>
                  <a:gd name="T8" fmla="*/ 485 w 1640"/>
                  <a:gd name="T9" fmla="*/ 0 h 338"/>
                  <a:gd name="T10" fmla="*/ 485 w 1640"/>
                  <a:gd name="T11" fmla="*/ 0 h 338"/>
                  <a:gd name="T12" fmla="*/ 22 w 1640"/>
                  <a:gd name="T13" fmla="*/ 0 h 338"/>
                  <a:gd name="T14" fmla="*/ 0 w 1640"/>
                  <a:gd name="T15" fmla="*/ 22 h 338"/>
                  <a:gd name="T16" fmla="*/ 0 w 1640"/>
                  <a:gd name="T17" fmla="*/ 316 h 338"/>
                  <a:gd name="T18" fmla="*/ 22 w 1640"/>
                  <a:gd name="T19" fmla="*/ 338 h 338"/>
                  <a:gd name="T20" fmla="*/ 72 w 1640"/>
                  <a:gd name="T21" fmla="*/ 338 h 338"/>
                  <a:gd name="T22" fmla="*/ 334 w 1640"/>
                  <a:gd name="T23" fmla="*/ 0 h 338"/>
                  <a:gd name="T24" fmla="*/ 22 w 1640"/>
                  <a:gd name="T25" fmla="*/ 0 h 338"/>
                  <a:gd name="T26" fmla="*/ 22 w 1640"/>
                  <a:gd name="T27" fmla="*/ 0 h 338"/>
                  <a:gd name="T28" fmla="*/ 1618 w 1640"/>
                  <a:gd name="T29" fmla="*/ 0 h 338"/>
                  <a:gd name="T30" fmla="*/ 1555 w 1640"/>
                  <a:gd name="T31" fmla="*/ 0 h 338"/>
                  <a:gd name="T32" fmla="*/ 1293 w 1640"/>
                  <a:gd name="T33" fmla="*/ 338 h 338"/>
                  <a:gd name="T34" fmla="*/ 1618 w 1640"/>
                  <a:gd name="T35" fmla="*/ 338 h 338"/>
                  <a:gd name="T36" fmla="*/ 1640 w 1640"/>
                  <a:gd name="T37" fmla="*/ 316 h 338"/>
                  <a:gd name="T38" fmla="*/ 1640 w 1640"/>
                  <a:gd name="T39" fmla="*/ 22 h 338"/>
                  <a:gd name="T40" fmla="*/ 1618 w 1640"/>
                  <a:gd name="T41" fmla="*/ 0 h 338"/>
                  <a:gd name="T42" fmla="*/ 1021 w 1640"/>
                  <a:gd name="T43" fmla="*/ 0 h 338"/>
                  <a:gd name="T44" fmla="*/ 758 w 1640"/>
                  <a:gd name="T45" fmla="*/ 338 h 338"/>
                  <a:gd name="T46" fmla="*/ 1142 w 1640"/>
                  <a:gd name="T47" fmla="*/ 338 h 338"/>
                  <a:gd name="T48" fmla="*/ 1405 w 1640"/>
                  <a:gd name="T49" fmla="*/ 0 h 338"/>
                  <a:gd name="T50" fmla="*/ 1021 w 1640"/>
                  <a:gd name="T51" fmla="*/ 0 h 338"/>
                  <a:gd name="T52" fmla="*/ 1021 w 1640"/>
                  <a:gd name="T53"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40" h="338">
                    <a:moveTo>
                      <a:pt x="485" y="0"/>
                    </a:moveTo>
                    <a:cubicBezTo>
                      <a:pt x="223" y="338"/>
                      <a:pt x="223" y="338"/>
                      <a:pt x="223" y="338"/>
                    </a:cubicBezTo>
                    <a:cubicBezTo>
                      <a:pt x="607" y="338"/>
                      <a:pt x="607" y="338"/>
                      <a:pt x="607" y="338"/>
                    </a:cubicBezTo>
                    <a:cubicBezTo>
                      <a:pt x="870" y="0"/>
                      <a:pt x="870" y="0"/>
                      <a:pt x="870" y="0"/>
                    </a:cubicBezTo>
                    <a:cubicBezTo>
                      <a:pt x="485" y="0"/>
                      <a:pt x="485" y="0"/>
                      <a:pt x="485" y="0"/>
                    </a:cubicBezTo>
                    <a:cubicBezTo>
                      <a:pt x="485" y="0"/>
                      <a:pt x="485" y="0"/>
                      <a:pt x="485" y="0"/>
                    </a:cubicBezTo>
                    <a:close/>
                    <a:moveTo>
                      <a:pt x="22" y="0"/>
                    </a:moveTo>
                    <a:cubicBezTo>
                      <a:pt x="10" y="0"/>
                      <a:pt x="0" y="10"/>
                      <a:pt x="0" y="22"/>
                    </a:cubicBezTo>
                    <a:cubicBezTo>
                      <a:pt x="0" y="316"/>
                      <a:pt x="0" y="316"/>
                      <a:pt x="0" y="316"/>
                    </a:cubicBezTo>
                    <a:cubicBezTo>
                      <a:pt x="0" y="328"/>
                      <a:pt x="10" y="338"/>
                      <a:pt x="22" y="338"/>
                    </a:cubicBezTo>
                    <a:cubicBezTo>
                      <a:pt x="72" y="338"/>
                      <a:pt x="72" y="338"/>
                      <a:pt x="72" y="338"/>
                    </a:cubicBezTo>
                    <a:cubicBezTo>
                      <a:pt x="334" y="0"/>
                      <a:pt x="334" y="0"/>
                      <a:pt x="334" y="0"/>
                    </a:cubicBezTo>
                    <a:cubicBezTo>
                      <a:pt x="22" y="0"/>
                      <a:pt x="22" y="0"/>
                      <a:pt x="22" y="0"/>
                    </a:cubicBezTo>
                    <a:cubicBezTo>
                      <a:pt x="22" y="0"/>
                      <a:pt x="22" y="0"/>
                      <a:pt x="22" y="0"/>
                    </a:cubicBezTo>
                    <a:close/>
                    <a:moveTo>
                      <a:pt x="1618" y="0"/>
                    </a:moveTo>
                    <a:cubicBezTo>
                      <a:pt x="1555" y="0"/>
                      <a:pt x="1555" y="0"/>
                      <a:pt x="1555" y="0"/>
                    </a:cubicBezTo>
                    <a:cubicBezTo>
                      <a:pt x="1293" y="338"/>
                      <a:pt x="1293" y="338"/>
                      <a:pt x="1293" y="338"/>
                    </a:cubicBezTo>
                    <a:cubicBezTo>
                      <a:pt x="1618" y="338"/>
                      <a:pt x="1618" y="338"/>
                      <a:pt x="1618" y="338"/>
                    </a:cubicBezTo>
                    <a:cubicBezTo>
                      <a:pt x="1631" y="338"/>
                      <a:pt x="1640" y="328"/>
                      <a:pt x="1640" y="316"/>
                    </a:cubicBezTo>
                    <a:cubicBezTo>
                      <a:pt x="1640" y="22"/>
                      <a:pt x="1640" y="22"/>
                      <a:pt x="1640" y="22"/>
                    </a:cubicBezTo>
                    <a:cubicBezTo>
                      <a:pt x="1640" y="10"/>
                      <a:pt x="1631" y="0"/>
                      <a:pt x="1618" y="0"/>
                    </a:cubicBezTo>
                    <a:close/>
                    <a:moveTo>
                      <a:pt x="1021" y="0"/>
                    </a:moveTo>
                    <a:cubicBezTo>
                      <a:pt x="758" y="338"/>
                      <a:pt x="758" y="338"/>
                      <a:pt x="758" y="338"/>
                    </a:cubicBezTo>
                    <a:cubicBezTo>
                      <a:pt x="1142" y="338"/>
                      <a:pt x="1142" y="338"/>
                      <a:pt x="1142" y="338"/>
                    </a:cubicBezTo>
                    <a:cubicBezTo>
                      <a:pt x="1405" y="0"/>
                      <a:pt x="1405" y="0"/>
                      <a:pt x="1405" y="0"/>
                    </a:cubicBezTo>
                    <a:cubicBezTo>
                      <a:pt x="1021" y="0"/>
                      <a:pt x="1021" y="0"/>
                      <a:pt x="1021" y="0"/>
                    </a:cubicBezTo>
                    <a:cubicBezTo>
                      <a:pt x="1021" y="0"/>
                      <a:pt x="1021" y="0"/>
                      <a:pt x="1021" y="0"/>
                    </a:cubicBezTo>
                    <a:close/>
                  </a:path>
                </a:pathLst>
              </a:cu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p:cNvGrpSpPr/>
          <p:nvPr/>
        </p:nvGrpSpPr>
        <p:grpSpPr>
          <a:xfrm>
            <a:off x="9983531" y="2592249"/>
            <a:ext cx="642938" cy="630607"/>
            <a:chOff x="9976943" y="3714750"/>
            <a:chExt cx="642938" cy="630607"/>
          </a:xfrm>
        </p:grpSpPr>
        <p:cxnSp>
          <p:nvCxnSpPr>
            <p:cNvPr id="8" name="Straight Connector 7"/>
            <p:cNvCxnSpPr/>
            <p:nvPr/>
          </p:nvCxnSpPr>
          <p:spPr>
            <a:xfrm flipV="1">
              <a:off x="10298412" y="3718718"/>
              <a:ext cx="0" cy="626639"/>
            </a:xfrm>
            <a:prstGeom prst="line">
              <a:avLst/>
            </a:prstGeom>
            <a:ln w="19050" cap="flat" cmpd="sng" algn="ctr">
              <a:solidFill>
                <a:srgbClr val="414145"/>
              </a:solidFill>
              <a:prstDash val="solid"/>
              <a:miter lim="800000"/>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9976943" y="3714750"/>
              <a:ext cx="642938" cy="0"/>
            </a:xfrm>
            <a:prstGeom prst="line">
              <a:avLst/>
            </a:prstGeom>
            <a:ln w="9525" cap="rnd" cmpd="sng" algn="ctr">
              <a:solidFill>
                <a:srgbClr val="41414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7177931" y="2592249"/>
            <a:ext cx="642938" cy="630607"/>
            <a:chOff x="10129343" y="3867150"/>
            <a:chExt cx="642938" cy="630607"/>
          </a:xfrm>
        </p:grpSpPr>
        <p:cxnSp>
          <p:nvCxnSpPr>
            <p:cNvPr id="44" name="Straight Connector 43"/>
            <p:cNvCxnSpPr/>
            <p:nvPr/>
          </p:nvCxnSpPr>
          <p:spPr>
            <a:xfrm flipV="1">
              <a:off x="10450812" y="3871118"/>
              <a:ext cx="0" cy="626639"/>
            </a:xfrm>
            <a:prstGeom prst="line">
              <a:avLst/>
            </a:prstGeom>
            <a:ln w="19050" cap="flat" cmpd="sng" algn="ctr">
              <a:solidFill>
                <a:srgbClr val="414145"/>
              </a:solidFill>
              <a:prstDash val="solid"/>
              <a:miter lim="800000"/>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0129343" y="3867150"/>
              <a:ext cx="642938" cy="0"/>
            </a:xfrm>
            <a:prstGeom prst="line">
              <a:avLst/>
            </a:prstGeom>
            <a:ln w="9525" cap="rnd" cmpd="sng" algn="ctr">
              <a:solidFill>
                <a:srgbClr val="41414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7" name="Group 46"/>
          <p:cNvGrpSpPr/>
          <p:nvPr/>
        </p:nvGrpSpPr>
        <p:grpSpPr>
          <a:xfrm>
            <a:off x="4364267" y="2592249"/>
            <a:ext cx="642938" cy="630607"/>
            <a:chOff x="10129343" y="3867150"/>
            <a:chExt cx="642938" cy="630607"/>
          </a:xfrm>
        </p:grpSpPr>
        <p:cxnSp>
          <p:nvCxnSpPr>
            <p:cNvPr id="48" name="Straight Connector 47"/>
            <p:cNvCxnSpPr/>
            <p:nvPr/>
          </p:nvCxnSpPr>
          <p:spPr>
            <a:xfrm flipV="1">
              <a:off x="10450812" y="3871118"/>
              <a:ext cx="0" cy="626639"/>
            </a:xfrm>
            <a:prstGeom prst="line">
              <a:avLst/>
            </a:prstGeom>
            <a:ln w="19050" cap="flat" cmpd="sng" algn="ctr">
              <a:solidFill>
                <a:srgbClr val="414145"/>
              </a:solidFill>
              <a:prstDash val="solid"/>
              <a:miter lim="800000"/>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10129343" y="3867150"/>
              <a:ext cx="642938" cy="0"/>
            </a:xfrm>
            <a:prstGeom prst="line">
              <a:avLst/>
            </a:prstGeom>
            <a:ln w="9525" cap="rnd" cmpd="sng" algn="ctr">
              <a:solidFill>
                <a:srgbClr val="41414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8" name="Group 57"/>
          <p:cNvGrpSpPr/>
          <p:nvPr/>
        </p:nvGrpSpPr>
        <p:grpSpPr>
          <a:xfrm>
            <a:off x="1566731" y="2592249"/>
            <a:ext cx="642938" cy="630607"/>
            <a:chOff x="10129343" y="3867150"/>
            <a:chExt cx="642938" cy="630607"/>
          </a:xfrm>
        </p:grpSpPr>
        <p:cxnSp>
          <p:nvCxnSpPr>
            <p:cNvPr id="59" name="Straight Connector 58"/>
            <p:cNvCxnSpPr/>
            <p:nvPr/>
          </p:nvCxnSpPr>
          <p:spPr>
            <a:xfrm flipV="1">
              <a:off x="10450812" y="3871118"/>
              <a:ext cx="0" cy="626639"/>
            </a:xfrm>
            <a:prstGeom prst="line">
              <a:avLst/>
            </a:prstGeom>
            <a:ln w="19050" cap="flat" cmpd="sng" algn="ctr">
              <a:solidFill>
                <a:srgbClr val="414145"/>
              </a:solidFill>
              <a:prstDash val="solid"/>
              <a:miter lim="800000"/>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10129343" y="3867150"/>
              <a:ext cx="642938" cy="0"/>
            </a:xfrm>
            <a:prstGeom prst="line">
              <a:avLst/>
            </a:prstGeom>
            <a:ln w="9525" cap="rnd" cmpd="sng" algn="ctr">
              <a:solidFill>
                <a:srgbClr val="41414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Content Placeholder 2">
            <a:extLst>
              <a:ext uri="{FF2B5EF4-FFF2-40B4-BE49-F238E27FC236}">
                <a16:creationId xmlns:a16="http://schemas.microsoft.com/office/drawing/2014/main" id="{927C7100-1836-A146-5521-7FACCC11DEA7}"/>
              </a:ext>
            </a:extLst>
          </p:cNvPr>
          <p:cNvSpPr txBox="1">
            <a:spLocks/>
          </p:cNvSpPr>
          <p:nvPr/>
        </p:nvSpPr>
        <p:spPr>
          <a:xfrm>
            <a:off x="680728" y="3768040"/>
            <a:ext cx="2516400" cy="1746719"/>
          </a:xfrm>
          <a:prstGeom prst="rect">
            <a:avLst/>
          </a:prstGeom>
        </p:spPr>
        <p:txBody>
          <a:bodyPr vert="horz" wrap="square" lIns="0" tIns="0" rIns="0" bIns="0" rtlCol="0">
            <a:noAutofit/>
          </a:bodyPr>
          <a:lstStyle>
            <a:defPPr>
              <a:defRPr lang="en-US"/>
            </a:defPPr>
            <a:lvl1pPr indent="0" defTabSz="914400">
              <a:lnSpc>
                <a:spcPct val="90000"/>
              </a:lnSpc>
              <a:spcBef>
                <a:spcPts val="1000"/>
              </a:spcBef>
              <a:buFont typeface="Arial" panose="020B0604020202020204" pitchFamily="34" charset="0"/>
              <a:buNone/>
              <a:defRPr sz="2400" b="1">
                <a:solidFill>
                  <a:schemeClr val="bg1"/>
                </a:solidFill>
              </a:defRPr>
            </a:lvl1pPr>
            <a:lvl2pPr marL="685800" indent="-228600" defTabSz="914400">
              <a:lnSpc>
                <a:spcPct val="90000"/>
              </a:lnSpc>
              <a:spcBef>
                <a:spcPts val="500"/>
              </a:spcBef>
              <a:buFont typeface="Arial" panose="020B0604020202020204" pitchFamily="34" charset="0"/>
              <a:buChar char="•"/>
              <a:defRPr sz="2000">
                <a:solidFill>
                  <a:srgbClr val="20313B"/>
                </a:solidFill>
              </a:defRPr>
            </a:lvl2pPr>
            <a:lvl3pPr marL="1143000" indent="-228600" defTabSz="914400">
              <a:lnSpc>
                <a:spcPct val="90000"/>
              </a:lnSpc>
              <a:spcBef>
                <a:spcPts val="500"/>
              </a:spcBef>
              <a:buFont typeface="Arial" panose="020B0604020202020204" pitchFamily="34" charset="0"/>
              <a:buChar char="•"/>
              <a:defRPr sz="2000">
                <a:solidFill>
                  <a:srgbClr val="20313B"/>
                </a:solidFill>
              </a:defRPr>
            </a:lvl3pPr>
            <a:lvl4pPr marL="1600200" indent="-228600" defTabSz="914400">
              <a:lnSpc>
                <a:spcPct val="90000"/>
              </a:lnSpc>
              <a:spcBef>
                <a:spcPts val="500"/>
              </a:spcBef>
              <a:buFont typeface="Arial" panose="020B0604020202020204" pitchFamily="34" charset="0"/>
              <a:buChar char="•"/>
              <a:defRPr sz="2000">
                <a:solidFill>
                  <a:srgbClr val="20313B"/>
                </a:solidFill>
              </a:defRPr>
            </a:lvl4pPr>
            <a:lvl5pPr marL="2057400" indent="-228600" defTabSz="914400">
              <a:lnSpc>
                <a:spcPct val="90000"/>
              </a:lnSpc>
              <a:spcBef>
                <a:spcPts val="500"/>
              </a:spcBef>
              <a:buFont typeface="Arial" panose="020B0604020202020204" pitchFamily="34" charset="0"/>
              <a:buChar char="•"/>
              <a:defRPr sz="2000">
                <a:solidFill>
                  <a:srgbClr val="20313B"/>
                </a:solidFill>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226800" lvl="1" indent="-151200">
              <a:lnSpc>
                <a:spcPct val="100000"/>
              </a:lnSpc>
              <a:spcBef>
                <a:spcPts val="0"/>
              </a:spcBef>
              <a:buClr>
                <a:srgbClr val="002060"/>
              </a:buClr>
              <a:buFont typeface="Trebuchet MS" panose="020B0603020202020204" pitchFamily="34" charset="0"/>
              <a:defRPr/>
            </a:pPr>
            <a:r>
              <a:rPr kumimoji="0" lang="en-US" sz="1600" b="0" i="0" u="none" strike="noStrike" kern="1200" cap="none" spc="0" normalizeH="0" baseline="0" noProof="0" dirty="0">
                <a:ln>
                  <a:noFill/>
                </a:ln>
                <a:solidFill>
                  <a:schemeClr val="tx1"/>
                </a:solidFill>
                <a:effectLst/>
                <a:uLnTx/>
                <a:uFillTx/>
                <a:ea typeface="Cambria" panose="02040503050406030204" pitchFamily="18" charset="0"/>
              </a:rPr>
              <a:t>PPH </a:t>
            </a:r>
            <a:r>
              <a:rPr lang="en-US" sz="1600" b="1" dirty="0">
                <a:solidFill>
                  <a:schemeClr val="tx1"/>
                </a:solidFill>
                <a:ea typeface="Cambria" panose="02040503050406030204" pitchFamily="18" charset="0"/>
              </a:rPr>
              <a:t>leading cause of maternal death </a:t>
            </a:r>
            <a:r>
              <a:rPr kumimoji="0" lang="en-US" sz="1600" b="0" i="0" u="none" strike="noStrike" kern="1200" cap="none" spc="0" normalizeH="0" baseline="0" noProof="0" dirty="0">
                <a:ln>
                  <a:noFill/>
                </a:ln>
                <a:solidFill>
                  <a:schemeClr val="tx1"/>
                </a:solidFill>
                <a:effectLst/>
                <a:uLnTx/>
                <a:uFillTx/>
                <a:ea typeface="Cambria" panose="02040503050406030204" pitchFamily="18" charset="0"/>
              </a:rPr>
              <a:t>globally; disproportionately </a:t>
            </a:r>
            <a:r>
              <a:rPr lang="en-US" sz="1600" b="1" dirty="0">
                <a:solidFill>
                  <a:schemeClr val="tx1"/>
                </a:solidFill>
                <a:ea typeface="Cambria" panose="02040503050406030204" pitchFamily="18" charset="0"/>
              </a:rPr>
              <a:t>higher in LMICs </a:t>
            </a:r>
          </a:p>
          <a:p>
            <a:pPr marL="226800" lvl="1" indent="-151200">
              <a:lnSpc>
                <a:spcPct val="100000"/>
              </a:lnSpc>
              <a:spcBef>
                <a:spcPts val="0"/>
              </a:spcBef>
              <a:buClr>
                <a:srgbClr val="002060"/>
              </a:buClr>
              <a:buFont typeface="Trebuchet MS" panose="020B0603020202020204" pitchFamily="34" charset="0"/>
              <a:defRPr/>
            </a:pPr>
            <a:r>
              <a:rPr kumimoji="0" lang="en-US" sz="1600" b="0" i="0" u="none" strike="noStrike" kern="1200" cap="none" spc="0" normalizeH="0" baseline="0" noProof="0" dirty="0">
                <a:ln>
                  <a:noFill/>
                </a:ln>
                <a:solidFill>
                  <a:schemeClr val="tx1"/>
                </a:solidFill>
                <a:effectLst/>
                <a:uLnTx/>
                <a:uFillTx/>
                <a:ea typeface="Cambria" panose="02040503050406030204" pitchFamily="18" charset="0"/>
              </a:rPr>
              <a:t>Several LMICs </a:t>
            </a:r>
            <a:r>
              <a:rPr lang="en-US" sz="1600" b="1" dirty="0">
                <a:solidFill>
                  <a:schemeClr val="tx1"/>
                </a:solidFill>
                <a:ea typeface="Cambria" panose="02040503050406030204" pitchFamily="18" charset="0"/>
              </a:rPr>
              <a:t>not on track to meet SDG-3 targets  </a:t>
            </a:r>
          </a:p>
        </p:txBody>
      </p:sp>
      <p:sp>
        <p:nvSpPr>
          <p:cNvPr id="9" name="Content Placeholder 2">
            <a:extLst>
              <a:ext uri="{FF2B5EF4-FFF2-40B4-BE49-F238E27FC236}">
                <a16:creationId xmlns:a16="http://schemas.microsoft.com/office/drawing/2014/main" id="{A5ACEF31-D446-080F-580F-E898249E99AE}"/>
              </a:ext>
            </a:extLst>
          </p:cNvPr>
          <p:cNvSpPr txBox="1">
            <a:spLocks/>
          </p:cNvSpPr>
          <p:nvPr/>
        </p:nvSpPr>
        <p:spPr>
          <a:xfrm>
            <a:off x="3435600" y="3768040"/>
            <a:ext cx="2516400" cy="1421372"/>
          </a:xfrm>
          <a:prstGeom prst="rect">
            <a:avLst/>
          </a:prstGeom>
        </p:spPr>
        <p:txBody>
          <a:bodyPr vert="horz" wrap="square" lIns="0" tIns="0" rIns="0" bIns="0" rtlCol="0">
            <a:noAutofit/>
          </a:bodyPr>
          <a:lstStyle>
            <a:defPPr>
              <a:defRPr lang="en-US"/>
            </a:defPPr>
            <a:lvl1pPr indent="0" defTabSz="914400">
              <a:lnSpc>
                <a:spcPct val="90000"/>
              </a:lnSpc>
              <a:spcBef>
                <a:spcPts val="1000"/>
              </a:spcBef>
              <a:buFont typeface="Arial" panose="020B0604020202020204" pitchFamily="34" charset="0"/>
              <a:buNone/>
              <a:defRPr sz="2400" b="1">
                <a:solidFill>
                  <a:schemeClr val="bg1"/>
                </a:solidFill>
              </a:defRPr>
            </a:lvl1pPr>
            <a:lvl2pPr marL="685800" indent="-228600" defTabSz="914400">
              <a:lnSpc>
                <a:spcPct val="90000"/>
              </a:lnSpc>
              <a:spcBef>
                <a:spcPts val="500"/>
              </a:spcBef>
              <a:buFont typeface="Arial" panose="020B0604020202020204" pitchFamily="34" charset="0"/>
              <a:buChar char="•"/>
              <a:defRPr sz="2000">
                <a:solidFill>
                  <a:srgbClr val="20313B"/>
                </a:solidFill>
              </a:defRPr>
            </a:lvl2pPr>
            <a:lvl3pPr marL="1143000" indent="-228600" defTabSz="914400">
              <a:lnSpc>
                <a:spcPct val="90000"/>
              </a:lnSpc>
              <a:spcBef>
                <a:spcPts val="500"/>
              </a:spcBef>
              <a:buFont typeface="Arial" panose="020B0604020202020204" pitchFamily="34" charset="0"/>
              <a:buChar char="•"/>
              <a:defRPr sz="2000">
                <a:solidFill>
                  <a:srgbClr val="20313B"/>
                </a:solidFill>
              </a:defRPr>
            </a:lvl3pPr>
            <a:lvl4pPr marL="1600200" indent="-228600" defTabSz="914400">
              <a:lnSpc>
                <a:spcPct val="90000"/>
              </a:lnSpc>
              <a:spcBef>
                <a:spcPts val="500"/>
              </a:spcBef>
              <a:buFont typeface="Arial" panose="020B0604020202020204" pitchFamily="34" charset="0"/>
              <a:buChar char="•"/>
              <a:defRPr sz="2000">
                <a:solidFill>
                  <a:srgbClr val="20313B"/>
                </a:solidFill>
              </a:defRPr>
            </a:lvl4pPr>
            <a:lvl5pPr marL="2057400" indent="-228600" defTabSz="914400">
              <a:lnSpc>
                <a:spcPct val="90000"/>
              </a:lnSpc>
              <a:spcBef>
                <a:spcPts val="500"/>
              </a:spcBef>
              <a:buFont typeface="Arial" panose="020B0604020202020204" pitchFamily="34" charset="0"/>
              <a:buChar char="•"/>
              <a:defRPr sz="2000">
                <a:solidFill>
                  <a:srgbClr val="20313B"/>
                </a:solidFill>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226800" lvl="1" indent="-151200">
              <a:lnSpc>
                <a:spcPct val="100000"/>
              </a:lnSpc>
              <a:spcBef>
                <a:spcPts val="0"/>
              </a:spcBef>
              <a:buClr>
                <a:srgbClr val="002060"/>
              </a:buClr>
              <a:buFont typeface="Trebuchet MS" panose="020B0603020202020204" pitchFamily="34" charset="0"/>
              <a:defRPr/>
            </a:pPr>
            <a:r>
              <a:rPr kumimoji="0" lang="en-US" sz="1600" b="1" i="0" u="none" strike="noStrike" kern="1200" cap="none" spc="0" normalizeH="0" baseline="0" noProof="0" dirty="0">
                <a:ln>
                  <a:noFill/>
                </a:ln>
                <a:solidFill>
                  <a:schemeClr val="tx1"/>
                </a:solidFill>
                <a:effectLst/>
                <a:uLnTx/>
                <a:uFillTx/>
                <a:ea typeface="Cambria" panose="02040503050406030204" pitchFamily="18" charset="0"/>
              </a:rPr>
              <a:t>Stagnant PPH research </a:t>
            </a:r>
            <a:r>
              <a:rPr kumimoji="0" lang="en-US" sz="1600" b="0" i="0" u="none" strike="noStrike" kern="1200" cap="none" spc="0" normalizeH="0" baseline="0" noProof="0" dirty="0">
                <a:ln>
                  <a:noFill/>
                </a:ln>
                <a:solidFill>
                  <a:schemeClr val="tx1"/>
                </a:solidFill>
                <a:effectLst/>
                <a:uLnTx/>
                <a:uFillTx/>
                <a:ea typeface="Cambria" panose="02040503050406030204" pitchFamily="18" charset="0"/>
              </a:rPr>
              <a:t>horizons </a:t>
            </a:r>
          </a:p>
          <a:p>
            <a:pPr marL="226800" lvl="1" indent="-151200">
              <a:lnSpc>
                <a:spcPct val="100000"/>
              </a:lnSpc>
              <a:spcBef>
                <a:spcPts val="0"/>
              </a:spcBef>
              <a:buClr>
                <a:srgbClr val="002060"/>
              </a:buClr>
              <a:buFont typeface="Trebuchet MS" panose="020B0603020202020204" pitchFamily="34" charset="0"/>
              <a:defRPr/>
            </a:pPr>
            <a:r>
              <a:rPr lang="en-US" sz="1600" b="1" dirty="0">
                <a:solidFill>
                  <a:schemeClr val="tx1"/>
                </a:solidFill>
                <a:ea typeface="Cambria" panose="02040503050406030204" pitchFamily="18" charset="0"/>
              </a:rPr>
              <a:t>Only</a:t>
            </a:r>
            <a:r>
              <a:rPr kumimoji="0" lang="en-US" sz="1600" b="0" i="0" u="none" strike="noStrike" kern="1200" cap="none" spc="0" normalizeH="0" baseline="0" noProof="0" dirty="0">
                <a:ln>
                  <a:noFill/>
                </a:ln>
                <a:solidFill>
                  <a:schemeClr val="tx1"/>
                </a:solidFill>
                <a:effectLst/>
                <a:uLnTx/>
                <a:uFillTx/>
                <a:ea typeface="Cambria" panose="02040503050406030204" pitchFamily="18" charset="0"/>
              </a:rPr>
              <a:t> </a:t>
            </a:r>
            <a:r>
              <a:rPr kumimoji="0" lang="en-US" sz="1600" b="1" i="0" u="none" strike="noStrike" kern="1200" cap="none" spc="0" normalizeH="0" baseline="0" noProof="0" dirty="0">
                <a:ln>
                  <a:noFill/>
                </a:ln>
                <a:solidFill>
                  <a:schemeClr val="tx1"/>
                </a:solidFill>
                <a:effectLst/>
                <a:uLnTx/>
                <a:uFillTx/>
                <a:ea typeface="Cambria" panose="02040503050406030204" pitchFamily="18" charset="0"/>
              </a:rPr>
              <a:t>two new PPH medicines </a:t>
            </a:r>
            <a:r>
              <a:rPr kumimoji="0" lang="en-US" sz="1600" b="0" i="0" u="none" strike="noStrike" kern="1200" cap="none" spc="0" normalizeH="0" baseline="0" noProof="0" dirty="0">
                <a:ln>
                  <a:noFill/>
                </a:ln>
                <a:solidFill>
                  <a:schemeClr val="tx1"/>
                </a:solidFill>
                <a:effectLst/>
                <a:uLnTx/>
                <a:uFillTx/>
                <a:ea typeface="Cambria" panose="02040503050406030204" pitchFamily="18" charset="0"/>
              </a:rPr>
              <a:t>over the last 30 years</a:t>
            </a:r>
          </a:p>
        </p:txBody>
      </p:sp>
      <p:sp>
        <p:nvSpPr>
          <p:cNvPr id="10" name="Content Placeholder 2">
            <a:extLst>
              <a:ext uri="{FF2B5EF4-FFF2-40B4-BE49-F238E27FC236}">
                <a16:creationId xmlns:a16="http://schemas.microsoft.com/office/drawing/2014/main" id="{EA4C74F6-FFD1-A567-F918-951F2C2F8FA7}"/>
              </a:ext>
            </a:extLst>
          </p:cNvPr>
          <p:cNvSpPr txBox="1">
            <a:spLocks/>
          </p:cNvSpPr>
          <p:nvPr/>
        </p:nvSpPr>
        <p:spPr>
          <a:xfrm>
            <a:off x="6259399" y="3768041"/>
            <a:ext cx="2516400" cy="1746718"/>
          </a:xfrm>
          <a:prstGeom prst="rect">
            <a:avLst/>
          </a:prstGeom>
        </p:spPr>
        <p:txBody>
          <a:bodyPr vert="horz" wrap="square" lIns="0" tIns="0" rIns="0" bIns="0" rtlCol="0" anchor="t">
            <a:noAutofit/>
          </a:bodyPr>
          <a:lstStyle>
            <a:defPPr>
              <a:defRPr lang="en-US"/>
            </a:defPPr>
            <a:lvl1pPr indent="0" defTabSz="914400">
              <a:lnSpc>
                <a:spcPct val="90000"/>
              </a:lnSpc>
              <a:spcBef>
                <a:spcPts val="1000"/>
              </a:spcBef>
              <a:buFont typeface="Arial" panose="020B0604020202020204" pitchFamily="34" charset="0"/>
              <a:buNone/>
              <a:defRPr sz="2400" b="1">
                <a:solidFill>
                  <a:schemeClr val="bg1"/>
                </a:solidFill>
              </a:defRPr>
            </a:lvl1pPr>
            <a:lvl2pPr marL="685800" indent="-228600" defTabSz="914400">
              <a:lnSpc>
                <a:spcPct val="90000"/>
              </a:lnSpc>
              <a:spcBef>
                <a:spcPts val="500"/>
              </a:spcBef>
              <a:buFont typeface="Arial" panose="020B0604020202020204" pitchFamily="34" charset="0"/>
              <a:buChar char="•"/>
              <a:defRPr sz="2000">
                <a:solidFill>
                  <a:srgbClr val="20313B"/>
                </a:solidFill>
              </a:defRPr>
            </a:lvl2pPr>
            <a:lvl3pPr marL="1143000" indent="-228600" defTabSz="914400">
              <a:lnSpc>
                <a:spcPct val="90000"/>
              </a:lnSpc>
              <a:spcBef>
                <a:spcPts val="500"/>
              </a:spcBef>
              <a:buFont typeface="Arial" panose="020B0604020202020204" pitchFamily="34" charset="0"/>
              <a:buChar char="•"/>
              <a:defRPr sz="2000">
                <a:solidFill>
                  <a:srgbClr val="20313B"/>
                </a:solidFill>
              </a:defRPr>
            </a:lvl3pPr>
            <a:lvl4pPr marL="1600200" indent="-228600" defTabSz="914400">
              <a:lnSpc>
                <a:spcPct val="90000"/>
              </a:lnSpc>
              <a:spcBef>
                <a:spcPts val="500"/>
              </a:spcBef>
              <a:buFont typeface="Arial" panose="020B0604020202020204" pitchFamily="34" charset="0"/>
              <a:buChar char="•"/>
              <a:defRPr sz="2000">
                <a:solidFill>
                  <a:srgbClr val="20313B"/>
                </a:solidFill>
              </a:defRPr>
            </a:lvl4pPr>
            <a:lvl5pPr marL="2057400" indent="-228600" defTabSz="914400">
              <a:lnSpc>
                <a:spcPct val="90000"/>
              </a:lnSpc>
              <a:spcBef>
                <a:spcPts val="500"/>
              </a:spcBef>
              <a:buFont typeface="Arial" panose="020B0604020202020204" pitchFamily="34" charset="0"/>
              <a:buChar char="•"/>
              <a:defRPr sz="2000">
                <a:solidFill>
                  <a:srgbClr val="20313B"/>
                </a:solidFill>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226695" lvl="1" indent="-151130">
              <a:lnSpc>
                <a:spcPct val="100000"/>
              </a:lnSpc>
              <a:spcBef>
                <a:spcPts val="0"/>
              </a:spcBef>
              <a:buClr>
                <a:srgbClr val="002060"/>
              </a:buClr>
              <a:buFont typeface="Trebuchet MS" panose="020B0603020202020204" pitchFamily="34" charset="0"/>
              <a:buChar char="•"/>
              <a:defRPr/>
            </a:pPr>
            <a:r>
              <a:rPr lang="en-US" sz="1600" b="1" dirty="0">
                <a:solidFill>
                  <a:schemeClr val="tx1"/>
                </a:solidFill>
                <a:ea typeface="Cambria"/>
              </a:rPr>
              <a:t>Fragmentation and inconsistencies </a:t>
            </a:r>
            <a:r>
              <a:rPr lang="en-US" sz="1600" dirty="0">
                <a:solidFill>
                  <a:schemeClr val="tx1"/>
                </a:solidFill>
                <a:ea typeface="Cambria"/>
              </a:rPr>
              <a:t>in international and national PPH guidelines</a:t>
            </a:r>
          </a:p>
          <a:p>
            <a:pPr marL="226695" lvl="1" indent="-151130">
              <a:lnSpc>
                <a:spcPct val="100000"/>
              </a:lnSpc>
              <a:spcBef>
                <a:spcPts val="0"/>
              </a:spcBef>
              <a:buClr>
                <a:srgbClr val="002060"/>
              </a:buClr>
              <a:buFont typeface="Trebuchet MS" panose="020B0603020202020204" pitchFamily="34" charset="0"/>
              <a:buChar char="•"/>
              <a:defRPr/>
            </a:pPr>
            <a:r>
              <a:rPr lang="en-US" sz="1600" b="1" dirty="0">
                <a:solidFill>
                  <a:schemeClr val="tx1"/>
                </a:solidFill>
              </a:rPr>
              <a:t>Lack of updated national policies </a:t>
            </a:r>
            <a:r>
              <a:rPr lang="en-US" sz="1600" dirty="0">
                <a:solidFill>
                  <a:schemeClr val="tx1"/>
                </a:solidFill>
              </a:rPr>
              <a:t>&amp; low uptake</a:t>
            </a:r>
            <a:endParaRPr lang="en-US" sz="1600" i="0" u="none" strike="noStrike" kern="1200" cap="none" spc="0" normalizeH="0" baseline="0" noProof="0" dirty="0">
              <a:ln>
                <a:noFill/>
              </a:ln>
              <a:solidFill>
                <a:schemeClr val="tx1"/>
              </a:solidFill>
              <a:effectLst/>
              <a:uLnTx/>
              <a:uFillTx/>
              <a:ea typeface="Cambria"/>
              <a:cs typeface="Calibri"/>
            </a:endParaRPr>
          </a:p>
        </p:txBody>
      </p:sp>
      <p:sp>
        <p:nvSpPr>
          <p:cNvPr id="11" name="Content Placeholder 2">
            <a:extLst>
              <a:ext uri="{FF2B5EF4-FFF2-40B4-BE49-F238E27FC236}">
                <a16:creationId xmlns:a16="http://schemas.microsoft.com/office/drawing/2014/main" id="{A24EE0AB-3353-0CC6-C227-85546550BE92}"/>
              </a:ext>
            </a:extLst>
          </p:cNvPr>
          <p:cNvSpPr txBox="1">
            <a:spLocks/>
          </p:cNvSpPr>
          <p:nvPr/>
        </p:nvSpPr>
        <p:spPr>
          <a:xfrm>
            <a:off x="9046800" y="3768040"/>
            <a:ext cx="2687995" cy="2241639"/>
          </a:xfrm>
          <a:prstGeom prst="rect">
            <a:avLst/>
          </a:prstGeom>
        </p:spPr>
        <p:txBody>
          <a:bodyPr vert="horz" wrap="square" lIns="0" tIns="0" rIns="0" bIns="0" rtlCol="0" anchor="t">
            <a:noAutofit/>
          </a:bodyPr>
          <a:lstStyle>
            <a:defPPr>
              <a:defRPr lang="en-US"/>
            </a:defPPr>
            <a:lvl1pPr indent="0" defTabSz="914400">
              <a:lnSpc>
                <a:spcPct val="90000"/>
              </a:lnSpc>
              <a:spcBef>
                <a:spcPts val="1000"/>
              </a:spcBef>
              <a:buFont typeface="Arial" panose="020B0604020202020204" pitchFamily="34" charset="0"/>
              <a:buNone/>
              <a:defRPr sz="2400" b="1">
                <a:solidFill>
                  <a:schemeClr val="bg1"/>
                </a:solidFill>
              </a:defRPr>
            </a:lvl1pPr>
            <a:lvl2pPr marL="685800" indent="-228600" defTabSz="914400">
              <a:lnSpc>
                <a:spcPct val="90000"/>
              </a:lnSpc>
              <a:spcBef>
                <a:spcPts val="500"/>
              </a:spcBef>
              <a:buFont typeface="Arial" panose="020B0604020202020204" pitchFamily="34" charset="0"/>
              <a:buChar char="•"/>
              <a:defRPr sz="2000">
                <a:solidFill>
                  <a:srgbClr val="20313B"/>
                </a:solidFill>
              </a:defRPr>
            </a:lvl2pPr>
            <a:lvl3pPr marL="1143000" indent="-228600" defTabSz="914400">
              <a:lnSpc>
                <a:spcPct val="90000"/>
              </a:lnSpc>
              <a:spcBef>
                <a:spcPts val="500"/>
              </a:spcBef>
              <a:buFont typeface="Arial" panose="020B0604020202020204" pitchFamily="34" charset="0"/>
              <a:buChar char="•"/>
              <a:defRPr sz="2000">
                <a:solidFill>
                  <a:srgbClr val="20313B"/>
                </a:solidFill>
              </a:defRPr>
            </a:lvl3pPr>
            <a:lvl4pPr marL="1600200" indent="-228600" defTabSz="914400">
              <a:lnSpc>
                <a:spcPct val="90000"/>
              </a:lnSpc>
              <a:spcBef>
                <a:spcPts val="500"/>
              </a:spcBef>
              <a:buFont typeface="Arial" panose="020B0604020202020204" pitchFamily="34" charset="0"/>
              <a:buChar char="•"/>
              <a:defRPr sz="2000">
                <a:solidFill>
                  <a:srgbClr val="20313B"/>
                </a:solidFill>
              </a:defRPr>
            </a:lvl4pPr>
            <a:lvl5pPr marL="2057400" indent="-228600" defTabSz="914400">
              <a:lnSpc>
                <a:spcPct val="90000"/>
              </a:lnSpc>
              <a:spcBef>
                <a:spcPts val="500"/>
              </a:spcBef>
              <a:buFont typeface="Arial" panose="020B0604020202020204" pitchFamily="34" charset="0"/>
              <a:buChar char="•"/>
              <a:defRPr sz="2000">
                <a:solidFill>
                  <a:srgbClr val="20313B"/>
                </a:solidFill>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226695" lvl="1" indent="-151130">
              <a:lnSpc>
                <a:spcPct val="100000"/>
              </a:lnSpc>
              <a:spcBef>
                <a:spcPts val="0"/>
              </a:spcBef>
              <a:buClr>
                <a:srgbClr val="002060"/>
              </a:buClr>
              <a:buFont typeface="Trebuchet MS" panose="020B0603020202020204" pitchFamily="34" charset="0"/>
              <a:defRPr/>
            </a:pPr>
            <a:r>
              <a:rPr lang="en-US" sz="1600" b="1" dirty="0">
                <a:solidFill>
                  <a:schemeClr val="tx1"/>
                </a:solidFill>
                <a:ea typeface="Cambria"/>
              </a:rPr>
              <a:t>Multidimensional implementation bottlenecks</a:t>
            </a:r>
            <a:r>
              <a:rPr lang="en-US" sz="1600" dirty="0">
                <a:solidFill>
                  <a:schemeClr val="tx1"/>
                </a:solidFill>
                <a:ea typeface="Cambria"/>
              </a:rPr>
              <a:t> beyond adoption of global norms</a:t>
            </a:r>
          </a:p>
          <a:p>
            <a:pPr marL="226695" lvl="1" indent="-151130">
              <a:lnSpc>
                <a:spcPct val="100000"/>
              </a:lnSpc>
              <a:spcBef>
                <a:spcPts val="0"/>
              </a:spcBef>
              <a:buClr>
                <a:srgbClr val="002060"/>
              </a:buClr>
              <a:buFont typeface="Trebuchet MS" panose="020B0603020202020204" pitchFamily="34" charset="0"/>
              <a:defRPr/>
            </a:pPr>
            <a:r>
              <a:rPr lang="en-US" sz="1600" b="1" dirty="0">
                <a:solidFill>
                  <a:schemeClr val="tx1"/>
                </a:solidFill>
                <a:ea typeface="Cambria"/>
              </a:rPr>
              <a:t>Underutilization of advocacy </a:t>
            </a:r>
            <a:r>
              <a:rPr lang="en-US" sz="1600" dirty="0">
                <a:solidFill>
                  <a:schemeClr val="tx1"/>
                </a:solidFill>
                <a:ea typeface="Cambria"/>
              </a:rPr>
              <a:t>to catalyze global action</a:t>
            </a:r>
            <a:r>
              <a:rPr lang="en-US" sz="1600" b="1" dirty="0">
                <a:solidFill>
                  <a:schemeClr val="tx1"/>
                </a:solidFill>
                <a:ea typeface="Cambria"/>
              </a:rPr>
              <a:t> </a:t>
            </a:r>
          </a:p>
          <a:p>
            <a:pPr marL="226695" lvl="1" indent="-151130">
              <a:lnSpc>
                <a:spcPct val="100000"/>
              </a:lnSpc>
              <a:spcBef>
                <a:spcPts val="0"/>
              </a:spcBef>
              <a:buClr>
                <a:srgbClr val="002060"/>
              </a:buClr>
              <a:buFont typeface="Trebuchet MS" panose="020B0603020202020204" pitchFamily="34" charset="0"/>
              <a:defRPr/>
            </a:pPr>
            <a:r>
              <a:rPr lang="en-US" sz="1600" b="1" dirty="0">
                <a:solidFill>
                  <a:schemeClr val="tx1"/>
                </a:solidFill>
                <a:ea typeface="Cambria"/>
              </a:rPr>
              <a:t>No PPH-focused global agenda or coherent action plans </a:t>
            </a:r>
            <a:r>
              <a:rPr lang="en-US" sz="1600" dirty="0">
                <a:solidFill>
                  <a:schemeClr val="tx1"/>
                </a:solidFill>
                <a:ea typeface="Cambria"/>
              </a:rPr>
              <a:t>to guide stakeholders</a:t>
            </a:r>
            <a:endParaRPr lang="en-US" sz="1600" i="0" u="none" strike="noStrike" kern="1200" cap="none" spc="0" normalizeH="0" baseline="0" noProof="0" dirty="0">
              <a:ln>
                <a:noFill/>
              </a:ln>
              <a:solidFill>
                <a:schemeClr val="tx1"/>
              </a:solidFill>
              <a:effectLst/>
              <a:uLnTx/>
              <a:uFillTx/>
              <a:ea typeface="Cambria" panose="02040503050406030204" pitchFamily="18" charset="0"/>
              <a:cs typeface="Calibri" panose="020F0502020204030204"/>
            </a:endParaRPr>
          </a:p>
        </p:txBody>
      </p:sp>
    </p:spTree>
    <p:extLst>
      <p:ext uri="{BB962C8B-B14F-4D97-AF65-F5344CB8AC3E}">
        <p14:creationId xmlns:p14="http://schemas.microsoft.com/office/powerpoint/2010/main" val="7248906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87194A0-A3FD-9259-B5D2-95AAD99C8A71}"/>
              </a:ext>
            </a:extLst>
          </p:cNvPr>
          <p:cNvGraphicFramePr>
            <a:graphicFrameLocks noChangeAspect="1"/>
          </p:cNvGraphicFramePr>
          <p:nvPr>
            <p:custDataLst>
              <p:tags r:id="rId1"/>
            </p:custDataLst>
            <p:extLst>
              <p:ext uri="{D42A27DB-BD31-4B8C-83A1-F6EECF244321}">
                <p14:modId xmlns:p14="http://schemas.microsoft.com/office/powerpoint/2010/main" val="8658468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to 3" hidden="1">
                        <a:extLst>
                          <a:ext uri="{FF2B5EF4-FFF2-40B4-BE49-F238E27FC236}">
                            <a16:creationId xmlns:a16="http://schemas.microsoft.com/office/drawing/2014/main" id="{F87194A0-A3FD-9259-B5D2-95AAD99C8A7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63" name="Picture 62" descr="A picture containing outdoor, person, group, people&#10;&#10;Description automatically generated">
            <a:extLst>
              <a:ext uri="{FF2B5EF4-FFF2-40B4-BE49-F238E27FC236}">
                <a16:creationId xmlns:a16="http://schemas.microsoft.com/office/drawing/2014/main" id="{73A88195-CEF0-4144-C3A8-F2347B98427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 y="0"/>
            <a:ext cx="12177104" cy="6858000"/>
          </a:xfrm>
          <a:prstGeom prst="rect">
            <a:avLst/>
          </a:prstGeom>
          <a:solidFill>
            <a:srgbClr val="0070C0"/>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0070C0"/>
                </a:solidFill>
                <a:prstDash val="solid"/>
                <a:round/>
                <a:headEnd type="none" w="med" len="med"/>
                <a:tailEnd type="none" w="med" len="med"/>
              </a14:hiddenLine>
            </a:ext>
          </a:extLst>
        </p:spPr>
      </p:pic>
      <p:sp>
        <p:nvSpPr>
          <p:cNvPr id="64" name="Rectangle 63">
            <a:extLst>
              <a:ext uri="{FF2B5EF4-FFF2-40B4-BE49-F238E27FC236}">
                <a16:creationId xmlns:a16="http://schemas.microsoft.com/office/drawing/2014/main" id="{E03B87C6-F867-4D4A-5539-11117B784167}"/>
              </a:ext>
            </a:extLst>
          </p:cNvPr>
          <p:cNvSpPr/>
          <p:nvPr/>
        </p:nvSpPr>
        <p:spPr>
          <a:xfrm>
            <a:off x="-2" y="0"/>
            <a:ext cx="12177104" cy="6858000"/>
          </a:xfrm>
          <a:prstGeom prst="rect">
            <a:avLst/>
          </a:prstGeom>
          <a:solidFill>
            <a:srgbClr val="033665">
              <a:alpha val="60000"/>
            </a:srgbClr>
          </a:solid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Rectangle: Rounded Corners 34">
            <a:extLst>
              <a:ext uri="{FF2B5EF4-FFF2-40B4-BE49-F238E27FC236}">
                <a16:creationId xmlns:a16="http://schemas.microsoft.com/office/drawing/2014/main" id="{BCD17BA9-0DDF-9F1D-AC5C-764E5F5D998B}"/>
              </a:ext>
            </a:extLst>
          </p:cNvPr>
          <p:cNvSpPr/>
          <p:nvPr/>
        </p:nvSpPr>
        <p:spPr>
          <a:xfrm>
            <a:off x="571633" y="1763288"/>
            <a:ext cx="5303553" cy="1563461"/>
          </a:xfrm>
          <a:prstGeom prst="roundRect">
            <a:avLst/>
          </a:prstGeom>
          <a:solidFill>
            <a:srgbClr val="033665">
              <a:alpha val="40000"/>
            </a:srgbClr>
          </a:solid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6" name="Rectangle: Rounded Corners 35">
            <a:extLst>
              <a:ext uri="{FF2B5EF4-FFF2-40B4-BE49-F238E27FC236}">
                <a16:creationId xmlns:a16="http://schemas.microsoft.com/office/drawing/2014/main" id="{1CAEFA05-0544-9A9B-CF7C-347D7273A9C5}"/>
              </a:ext>
            </a:extLst>
          </p:cNvPr>
          <p:cNvSpPr/>
          <p:nvPr/>
        </p:nvSpPr>
        <p:spPr>
          <a:xfrm>
            <a:off x="571633" y="3531252"/>
            <a:ext cx="10719461" cy="2534114"/>
          </a:xfrm>
          <a:prstGeom prst="roundRect">
            <a:avLst/>
          </a:prstGeom>
          <a:solidFill>
            <a:srgbClr val="033665">
              <a:alpha val="40000"/>
            </a:srgbClr>
          </a:solid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3" name="Título 1">
            <a:extLst>
              <a:ext uri="{FF2B5EF4-FFF2-40B4-BE49-F238E27FC236}">
                <a16:creationId xmlns:a16="http://schemas.microsoft.com/office/drawing/2014/main" id="{8868DA43-F4B0-8221-EC70-A20FCFB91149}"/>
              </a:ext>
            </a:extLst>
          </p:cNvPr>
          <p:cNvSpPr txBox="1">
            <a:spLocks/>
          </p:cNvSpPr>
          <p:nvPr/>
        </p:nvSpPr>
        <p:spPr>
          <a:xfrm>
            <a:off x="2811702" y="883902"/>
            <a:ext cx="6568595" cy="670678"/>
          </a:xfrm>
          <a:prstGeom prst="rect">
            <a:avLst/>
          </a:prstGeom>
        </p:spPr>
        <p:txBody>
          <a:bodyPr vert="horz" anchor="ct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lgn="ctr"/>
            <a:r>
              <a:rPr lang="en-US" sz="2800" b="1" spc="600" dirty="0">
                <a:solidFill>
                  <a:schemeClr val="bg1"/>
                </a:solidFill>
                <a:latin typeface="Calibri" panose="020F0502020204030204" pitchFamily="34" charset="0"/>
                <a:cs typeface="Calibri" panose="020F0502020204030204" pitchFamily="34" charset="0"/>
              </a:rPr>
              <a:t>130+ participants</a:t>
            </a:r>
          </a:p>
        </p:txBody>
      </p:sp>
      <p:sp>
        <p:nvSpPr>
          <p:cNvPr id="20" name="Título 1">
            <a:extLst>
              <a:ext uri="{FF2B5EF4-FFF2-40B4-BE49-F238E27FC236}">
                <a16:creationId xmlns:a16="http://schemas.microsoft.com/office/drawing/2014/main" id="{6FD21E60-E557-369B-8ECD-493BE271E017}"/>
              </a:ext>
            </a:extLst>
          </p:cNvPr>
          <p:cNvSpPr txBox="1">
            <a:spLocks/>
          </p:cNvSpPr>
          <p:nvPr/>
        </p:nvSpPr>
        <p:spPr>
          <a:xfrm>
            <a:off x="2146583" y="2166454"/>
            <a:ext cx="2446081" cy="757130"/>
          </a:xfrm>
          <a:prstGeom prst="rect">
            <a:avLst/>
          </a:prstGeom>
        </p:spPr>
        <p:txBody>
          <a:bodyPr vert="horz"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b="1" dirty="0">
                <a:solidFill>
                  <a:schemeClr val="bg1"/>
                </a:solidFill>
                <a:latin typeface="Calibri" panose="020F0502020204030204" pitchFamily="34" charset="0"/>
                <a:cs typeface="Calibri" panose="020F0502020204030204" pitchFamily="34" charset="0"/>
              </a:rPr>
              <a:t>50+ </a:t>
            </a:r>
            <a:r>
              <a:rPr lang="en-US" dirty="0">
                <a:solidFill>
                  <a:schemeClr val="bg1"/>
                </a:solidFill>
                <a:latin typeface="Calibri" panose="020F0502020204030204" pitchFamily="34" charset="0"/>
                <a:cs typeface="Calibri" panose="020F0502020204030204" pitchFamily="34" charset="0"/>
              </a:rPr>
              <a:t>participating</a:t>
            </a:r>
            <a:r>
              <a:rPr lang="en-US" b="1" dirty="0">
                <a:solidFill>
                  <a:schemeClr val="bg1"/>
                </a:solidFill>
                <a:latin typeface="Calibri" panose="020F0502020204030204" pitchFamily="34" charset="0"/>
                <a:cs typeface="Calibri" panose="020F0502020204030204" pitchFamily="34" charset="0"/>
              </a:rPr>
              <a:t> </a:t>
            </a:r>
            <a:r>
              <a:rPr lang="en-US" dirty="0">
                <a:solidFill>
                  <a:schemeClr val="bg1"/>
                </a:solidFill>
                <a:latin typeface="Calibri" panose="020F0502020204030204" pitchFamily="34" charset="0"/>
                <a:cs typeface="Calibri" panose="020F0502020204030204" pitchFamily="34" charset="0"/>
              </a:rPr>
              <a:t>countries</a:t>
            </a:r>
          </a:p>
        </p:txBody>
      </p:sp>
      <p:grpSp>
        <p:nvGrpSpPr>
          <p:cNvPr id="33" name="Group 32">
            <a:extLst>
              <a:ext uri="{FF2B5EF4-FFF2-40B4-BE49-F238E27FC236}">
                <a16:creationId xmlns:a16="http://schemas.microsoft.com/office/drawing/2014/main" id="{1594E225-9E9E-4E2B-1FBE-6532E24EA04D}"/>
              </a:ext>
            </a:extLst>
          </p:cNvPr>
          <p:cNvGrpSpPr/>
          <p:nvPr/>
        </p:nvGrpSpPr>
        <p:grpSpPr>
          <a:xfrm>
            <a:off x="722629" y="1909966"/>
            <a:ext cx="1270108" cy="1270106"/>
            <a:chOff x="2083840" y="2665134"/>
            <a:chExt cx="1270108" cy="1270106"/>
          </a:xfrm>
        </p:grpSpPr>
        <p:grpSp>
          <p:nvGrpSpPr>
            <p:cNvPr id="7" name="Grupo 6">
              <a:extLst>
                <a:ext uri="{FF2B5EF4-FFF2-40B4-BE49-F238E27FC236}">
                  <a16:creationId xmlns:a16="http://schemas.microsoft.com/office/drawing/2014/main" id="{4919AD7F-FB24-C334-C238-A77FD54714A1}"/>
                </a:ext>
              </a:extLst>
            </p:cNvPr>
            <p:cNvGrpSpPr/>
            <p:nvPr/>
          </p:nvGrpSpPr>
          <p:grpSpPr>
            <a:xfrm>
              <a:off x="2083840" y="2665134"/>
              <a:ext cx="1270108" cy="1270106"/>
              <a:chOff x="7381792" y="-1803918"/>
              <a:chExt cx="1333008" cy="1333008"/>
            </a:xfrm>
          </p:grpSpPr>
          <p:sp>
            <p:nvSpPr>
              <p:cNvPr id="8" name="Oval 4">
                <a:extLst>
                  <a:ext uri="{FF2B5EF4-FFF2-40B4-BE49-F238E27FC236}">
                    <a16:creationId xmlns:a16="http://schemas.microsoft.com/office/drawing/2014/main" id="{11CF8D0E-52E8-A959-B394-F935D006AB45}"/>
                  </a:ext>
                </a:extLst>
              </p:cNvPr>
              <p:cNvSpPr/>
              <p:nvPr/>
            </p:nvSpPr>
            <p:spPr>
              <a:xfrm>
                <a:off x="7381792" y="-1803918"/>
                <a:ext cx="1333008" cy="1333008"/>
              </a:xfrm>
              <a:prstGeom prst="ellipse">
                <a:avLst/>
              </a:prstGeom>
              <a:solidFill>
                <a:schemeClr val="bg1">
                  <a:lumMod val="95000"/>
                </a:schemeClr>
              </a:solidFill>
              <a:ln w="3175" cap="flat" cmpd="sng" algn="ctr">
                <a:noFill/>
                <a:prstDash val="solid"/>
              </a:ln>
              <a:effectLst>
                <a:outerShdw blurRad="38100" dist="25400" dir="16200000" rotWithShape="0">
                  <a:prstClr val="black">
                    <a:alpha val="30000"/>
                  </a:prstClr>
                </a:outerShdw>
              </a:effectLst>
            </p:spPr>
            <p:txBody>
              <a:bodyPr lIns="71839" tIns="71839" rIns="71839" bIns="71839"/>
              <a:lstStyle/>
              <a:p>
                <a:pPr algn="ctr" defTabSz="912345" eaLnBrk="0" hangingPunct="0">
                  <a:spcBef>
                    <a:spcPts val="1800"/>
                  </a:spcBef>
                  <a:buClr>
                    <a:srgbClr val="415A9C"/>
                  </a:buClr>
                </a:pPr>
                <a:endParaRPr lang="en-US" sz="1600" kern="0">
                  <a:solidFill>
                    <a:schemeClr val="tx2"/>
                  </a:solidFill>
                  <a:latin typeface="Calibri" panose="020F0502020204030204" pitchFamily="34" charset="0"/>
                  <a:cs typeface="Calibri" panose="020F0502020204030204" pitchFamily="34" charset="0"/>
                </a:endParaRPr>
              </a:p>
            </p:txBody>
          </p:sp>
          <p:sp>
            <p:nvSpPr>
              <p:cNvPr id="9" name="Oval 5">
                <a:extLst>
                  <a:ext uri="{FF2B5EF4-FFF2-40B4-BE49-F238E27FC236}">
                    <a16:creationId xmlns:a16="http://schemas.microsoft.com/office/drawing/2014/main" id="{FADE4D04-C1DE-A7E2-AAD7-4F1310D77F81}"/>
                  </a:ext>
                </a:extLst>
              </p:cNvPr>
              <p:cNvSpPr/>
              <p:nvPr/>
            </p:nvSpPr>
            <p:spPr>
              <a:xfrm>
                <a:off x="7472839" y="-1712870"/>
                <a:ext cx="1150913" cy="1150913"/>
              </a:xfrm>
              <a:prstGeom prst="ellipse">
                <a:avLst/>
              </a:prstGeom>
              <a:solidFill>
                <a:srgbClr val="FFFFFF"/>
              </a:solidFill>
              <a:ln w="3175" cap="flat" cmpd="sng" algn="ctr">
                <a:solidFill>
                  <a:srgbClr val="FFFFFF">
                    <a:lumMod val="85000"/>
                  </a:srgbClr>
                </a:solidFill>
                <a:prstDash val="solid"/>
              </a:ln>
              <a:effectLst/>
            </p:spPr>
            <p:txBody>
              <a:bodyPr lIns="71839" tIns="71839" rIns="71839" bIns="71839" anchor="ctr"/>
              <a:lstStyle/>
              <a:p>
                <a:pPr algn="ctr" defTabSz="912345" eaLnBrk="0" hangingPunct="0">
                  <a:spcBef>
                    <a:spcPts val="1800"/>
                  </a:spcBef>
                  <a:buClr>
                    <a:srgbClr val="415A9C"/>
                  </a:buClr>
                </a:pPr>
                <a:endParaRPr lang="en-US" sz="2400" b="1" kern="0">
                  <a:solidFill>
                    <a:srgbClr val="002E62"/>
                  </a:solidFill>
                  <a:latin typeface="Calibri" panose="020F0502020204030204" pitchFamily="34" charset="0"/>
                  <a:cs typeface="Calibri" panose="020F0502020204030204" pitchFamily="34" charset="0"/>
                </a:endParaRPr>
              </a:p>
            </p:txBody>
          </p:sp>
        </p:grpSp>
        <p:grpSp>
          <p:nvGrpSpPr>
            <p:cNvPr id="25" name="bcgIcons_Global Advantage">
              <a:extLst>
                <a:ext uri="{FF2B5EF4-FFF2-40B4-BE49-F238E27FC236}">
                  <a16:creationId xmlns:a16="http://schemas.microsoft.com/office/drawing/2014/main" id="{B4D6A6BA-669B-C9E8-252E-37E4BF81EEA5}"/>
                </a:ext>
              </a:extLst>
            </p:cNvPr>
            <p:cNvGrpSpPr>
              <a:grpSpLocks noChangeAspect="1"/>
            </p:cNvGrpSpPr>
            <p:nvPr/>
          </p:nvGrpSpPr>
          <p:grpSpPr bwMode="auto">
            <a:xfrm>
              <a:off x="2262118" y="2842987"/>
              <a:ext cx="913553" cy="914400"/>
              <a:chOff x="1682" y="0"/>
              <a:chExt cx="4316" cy="4320"/>
            </a:xfrm>
          </p:grpSpPr>
          <p:sp>
            <p:nvSpPr>
              <p:cNvPr id="26" name="AutoShape 28">
                <a:extLst>
                  <a:ext uri="{FF2B5EF4-FFF2-40B4-BE49-F238E27FC236}">
                    <a16:creationId xmlns:a16="http://schemas.microsoft.com/office/drawing/2014/main" id="{BFD8451A-FF54-9885-1FD5-AE5BD3D4CE8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0">
                <a:extLst>
                  <a:ext uri="{FF2B5EF4-FFF2-40B4-BE49-F238E27FC236}">
                    <a16:creationId xmlns:a16="http://schemas.microsoft.com/office/drawing/2014/main" id="{C50C9137-75C2-F09F-D94D-FE2563D414B1}"/>
                  </a:ext>
                </a:extLst>
              </p:cNvPr>
              <p:cNvSpPr>
                <a:spLocks noEditPoints="1"/>
              </p:cNvSpPr>
              <p:nvPr/>
            </p:nvSpPr>
            <p:spPr bwMode="auto">
              <a:xfrm>
                <a:off x="2128" y="444"/>
                <a:ext cx="3424" cy="3428"/>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solidFill>
                <a:srgbClr val="002E62"/>
              </a:solidFill>
              <a:ln w="9525">
                <a:solidFill>
                  <a:srgbClr val="002E62"/>
                </a:solidFill>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sp>
            <p:nvSpPr>
              <p:cNvPr id="28" name="Freeform 31">
                <a:extLst>
                  <a:ext uri="{FF2B5EF4-FFF2-40B4-BE49-F238E27FC236}">
                    <a16:creationId xmlns:a16="http://schemas.microsoft.com/office/drawing/2014/main" id="{B626B427-9C00-C893-A244-23149D9BC78C}"/>
                  </a:ext>
                </a:extLst>
              </p:cNvPr>
              <p:cNvSpPr>
                <a:spLocks noEditPoints="1"/>
              </p:cNvSpPr>
              <p:nvPr/>
            </p:nvSpPr>
            <p:spPr bwMode="auto">
              <a:xfrm>
                <a:off x="2293" y="609"/>
                <a:ext cx="3094" cy="3098"/>
              </a:xfrm>
              <a:custGeom>
                <a:avLst/>
                <a:gdLst>
                  <a:gd name="T0" fmla="*/ 1408 w 1652"/>
                  <a:gd name="T1" fmla="*/ 241 h 1652"/>
                  <a:gd name="T2" fmla="*/ 1227 w 1652"/>
                  <a:gd name="T3" fmla="*/ 278 h 1652"/>
                  <a:gd name="T4" fmla="*/ 1189 w 1652"/>
                  <a:gd name="T5" fmla="*/ 209 h 1652"/>
                  <a:gd name="T6" fmla="*/ 882 w 1652"/>
                  <a:gd name="T7" fmla="*/ 372 h 1652"/>
                  <a:gd name="T8" fmla="*/ 1184 w 1652"/>
                  <a:gd name="T9" fmla="*/ 295 h 1652"/>
                  <a:gd name="T10" fmla="*/ 909 w 1652"/>
                  <a:gd name="T11" fmla="*/ 4 h 1652"/>
                  <a:gd name="T12" fmla="*/ 848 w 1652"/>
                  <a:gd name="T13" fmla="*/ 338 h 1652"/>
                  <a:gd name="T14" fmla="*/ 804 w 1652"/>
                  <a:gd name="T15" fmla="*/ 452 h 1652"/>
                  <a:gd name="T16" fmla="*/ 475 w 1652"/>
                  <a:gd name="T17" fmla="*/ 375 h 1652"/>
                  <a:gd name="T18" fmla="*/ 362 w 1652"/>
                  <a:gd name="T19" fmla="*/ 770 h 1652"/>
                  <a:gd name="T20" fmla="*/ 769 w 1652"/>
                  <a:gd name="T21" fmla="*/ 804 h 1652"/>
                  <a:gd name="T22" fmla="*/ 804 w 1652"/>
                  <a:gd name="T23" fmla="*/ 452 h 1652"/>
                  <a:gd name="T24" fmla="*/ 1177 w 1652"/>
                  <a:gd name="T25" fmla="*/ 375 h 1652"/>
                  <a:gd name="T26" fmla="*/ 848 w 1652"/>
                  <a:gd name="T27" fmla="*/ 452 h 1652"/>
                  <a:gd name="T28" fmla="*/ 883 w 1652"/>
                  <a:gd name="T29" fmla="*/ 804 h 1652"/>
                  <a:gd name="T30" fmla="*/ 1290 w 1652"/>
                  <a:gd name="T31" fmla="*/ 770 h 1652"/>
                  <a:gd name="T32" fmla="*/ 769 w 1652"/>
                  <a:gd name="T33" fmla="*/ 848 h 1652"/>
                  <a:gd name="T34" fmla="*/ 362 w 1652"/>
                  <a:gd name="T35" fmla="*/ 882 h 1652"/>
                  <a:gd name="T36" fmla="*/ 475 w 1652"/>
                  <a:gd name="T37" fmla="*/ 1277 h 1652"/>
                  <a:gd name="T38" fmla="*/ 804 w 1652"/>
                  <a:gd name="T39" fmla="*/ 1200 h 1652"/>
                  <a:gd name="T40" fmla="*/ 769 w 1652"/>
                  <a:gd name="T41" fmla="*/ 848 h 1652"/>
                  <a:gd name="T42" fmla="*/ 1184 w 1652"/>
                  <a:gd name="T43" fmla="*/ 1357 h 1652"/>
                  <a:gd name="T44" fmla="*/ 882 w 1652"/>
                  <a:gd name="T45" fmla="*/ 1280 h 1652"/>
                  <a:gd name="T46" fmla="*/ 848 w 1652"/>
                  <a:gd name="T47" fmla="*/ 1652 h 1652"/>
                  <a:gd name="T48" fmla="*/ 1151 w 1652"/>
                  <a:gd name="T49" fmla="*/ 1421 h 1652"/>
                  <a:gd name="T50" fmla="*/ 1256 w 1652"/>
                  <a:gd name="T51" fmla="*/ 848 h 1652"/>
                  <a:gd name="T52" fmla="*/ 848 w 1652"/>
                  <a:gd name="T53" fmla="*/ 883 h 1652"/>
                  <a:gd name="T54" fmla="*/ 883 w 1652"/>
                  <a:gd name="T55" fmla="*/ 1236 h 1652"/>
                  <a:gd name="T56" fmla="*/ 1225 w 1652"/>
                  <a:gd name="T57" fmla="*/ 1252 h 1652"/>
                  <a:gd name="T58" fmla="*/ 1267 w 1652"/>
                  <a:gd name="T59" fmla="*/ 385 h 1652"/>
                  <a:gd name="T60" fmla="*/ 1370 w 1652"/>
                  <a:gd name="T61" fmla="*/ 804 h 1652"/>
                  <a:gd name="T62" fmla="*/ 1440 w 1652"/>
                  <a:gd name="T63" fmla="*/ 274 h 1652"/>
                  <a:gd name="T64" fmla="*/ 1267 w 1652"/>
                  <a:gd name="T65" fmla="*/ 385 h 1652"/>
                  <a:gd name="T66" fmla="*/ 1227 w 1652"/>
                  <a:gd name="T67" fmla="*/ 1374 h 1652"/>
                  <a:gd name="T68" fmla="*/ 1189 w 1652"/>
                  <a:gd name="T69" fmla="*/ 1443 h 1652"/>
                  <a:gd name="T70" fmla="*/ 1408 w 1652"/>
                  <a:gd name="T71" fmla="*/ 1411 h 1652"/>
                  <a:gd name="T72" fmla="*/ 463 w 1652"/>
                  <a:gd name="T73" fmla="*/ 1443 h 1652"/>
                  <a:gd name="T74" fmla="*/ 426 w 1652"/>
                  <a:gd name="T75" fmla="*/ 1374 h 1652"/>
                  <a:gd name="T76" fmla="*/ 244 w 1652"/>
                  <a:gd name="T77" fmla="*/ 1411 h 1652"/>
                  <a:gd name="T78" fmla="*/ 463 w 1652"/>
                  <a:gd name="T79" fmla="*/ 1443 h 1652"/>
                  <a:gd name="T80" fmla="*/ 486 w 1652"/>
                  <a:gd name="T81" fmla="*/ 1319 h 1652"/>
                  <a:gd name="T82" fmla="*/ 501 w 1652"/>
                  <a:gd name="T83" fmla="*/ 1421 h 1652"/>
                  <a:gd name="T84" fmla="*/ 804 w 1652"/>
                  <a:gd name="T85" fmla="*/ 1652 h 1652"/>
                  <a:gd name="T86" fmla="*/ 770 w 1652"/>
                  <a:gd name="T87" fmla="*/ 1280 h 1652"/>
                  <a:gd name="T88" fmla="*/ 1334 w 1652"/>
                  <a:gd name="T89" fmla="*/ 883 h 1652"/>
                  <a:gd name="T90" fmla="*/ 1287 w 1652"/>
                  <a:gd name="T91" fmla="*/ 1310 h 1652"/>
                  <a:gd name="T92" fmla="*/ 1652 w 1652"/>
                  <a:gd name="T93" fmla="*/ 848 h 1652"/>
                  <a:gd name="T94" fmla="*/ 804 w 1652"/>
                  <a:gd name="T95" fmla="*/ 0 h 1652"/>
                  <a:gd name="T96" fmla="*/ 501 w 1652"/>
                  <a:gd name="T97" fmla="*/ 231 h 1652"/>
                  <a:gd name="T98" fmla="*/ 486 w 1652"/>
                  <a:gd name="T99" fmla="*/ 333 h 1652"/>
                  <a:gd name="T100" fmla="*/ 804 w 1652"/>
                  <a:gd name="T101" fmla="*/ 338 h 1652"/>
                  <a:gd name="T102" fmla="*/ 378 w 1652"/>
                  <a:gd name="T103" fmla="*/ 300 h 1652"/>
                  <a:gd name="T104" fmla="*/ 427 w 1652"/>
                  <a:gd name="T105" fmla="*/ 278 h 1652"/>
                  <a:gd name="T106" fmla="*/ 610 w 1652"/>
                  <a:gd name="T107" fmla="*/ 29 h 1652"/>
                  <a:gd name="T108" fmla="*/ 378 w 1652"/>
                  <a:gd name="T109" fmla="*/ 300 h 1652"/>
                  <a:gd name="T110" fmla="*/ 318 w 1652"/>
                  <a:gd name="T111" fmla="*/ 769 h 1652"/>
                  <a:gd name="T112" fmla="*/ 365 w 1652"/>
                  <a:gd name="T113" fmla="*/ 342 h 1652"/>
                  <a:gd name="T114" fmla="*/ 0 w 1652"/>
                  <a:gd name="T115" fmla="*/ 804 h 1652"/>
                  <a:gd name="T116" fmla="*/ 385 w 1652"/>
                  <a:gd name="T117" fmla="*/ 1267 h 1652"/>
                  <a:gd name="T118" fmla="*/ 282 w 1652"/>
                  <a:gd name="T119" fmla="*/ 848 h 1652"/>
                  <a:gd name="T120" fmla="*/ 212 w 1652"/>
                  <a:gd name="T121" fmla="*/ 1378 h 1652"/>
                  <a:gd name="T122" fmla="*/ 385 w 1652"/>
                  <a:gd name="T123" fmla="*/ 1267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2" h="1652">
                    <a:moveTo>
                      <a:pt x="1042" y="29"/>
                    </a:moveTo>
                    <a:cubicBezTo>
                      <a:pt x="1182" y="67"/>
                      <a:pt x="1308" y="141"/>
                      <a:pt x="1408" y="241"/>
                    </a:cubicBezTo>
                    <a:cubicBezTo>
                      <a:pt x="1367" y="263"/>
                      <a:pt x="1321" y="283"/>
                      <a:pt x="1274" y="300"/>
                    </a:cubicBezTo>
                    <a:cubicBezTo>
                      <a:pt x="1262" y="287"/>
                      <a:pt x="1245" y="278"/>
                      <a:pt x="1227" y="278"/>
                    </a:cubicBezTo>
                    <a:cubicBezTo>
                      <a:pt x="1226" y="278"/>
                      <a:pt x="1225" y="278"/>
                      <a:pt x="1225" y="278"/>
                    </a:cubicBezTo>
                    <a:cubicBezTo>
                      <a:pt x="1214" y="254"/>
                      <a:pt x="1202" y="231"/>
                      <a:pt x="1189" y="209"/>
                    </a:cubicBezTo>
                    <a:cubicBezTo>
                      <a:pt x="1146" y="133"/>
                      <a:pt x="1096" y="73"/>
                      <a:pt x="1042" y="29"/>
                    </a:cubicBezTo>
                    <a:close/>
                    <a:moveTo>
                      <a:pt x="882" y="372"/>
                    </a:moveTo>
                    <a:cubicBezTo>
                      <a:pt x="981" y="368"/>
                      <a:pt x="1077" y="355"/>
                      <a:pt x="1166" y="333"/>
                    </a:cubicBezTo>
                    <a:cubicBezTo>
                      <a:pt x="1167" y="318"/>
                      <a:pt x="1174" y="305"/>
                      <a:pt x="1184" y="295"/>
                    </a:cubicBezTo>
                    <a:cubicBezTo>
                      <a:pt x="1174" y="273"/>
                      <a:pt x="1163" y="251"/>
                      <a:pt x="1151" y="231"/>
                    </a:cubicBezTo>
                    <a:cubicBezTo>
                      <a:pt x="1083" y="112"/>
                      <a:pt x="1000" y="34"/>
                      <a:pt x="909" y="4"/>
                    </a:cubicBezTo>
                    <a:cubicBezTo>
                      <a:pt x="889" y="2"/>
                      <a:pt x="869" y="1"/>
                      <a:pt x="848" y="0"/>
                    </a:cubicBezTo>
                    <a:cubicBezTo>
                      <a:pt x="848" y="338"/>
                      <a:pt x="848" y="338"/>
                      <a:pt x="848" y="338"/>
                    </a:cubicBezTo>
                    <a:cubicBezTo>
                      <a:pt x="864" y="344"/>
                      <a:pt x="876" y="356"/>
                      <a:pt x="882" y="372"/>
                    </a:cubicBezTo>
                    <a:close/>
                    <a:moveTo>
                      <a:pt x="804" y="452"/>
                    </a:moveTo>
                    <a:cubicBezTo>
                      <a:pt x="788" y="446"/>
                      <a:pt x="775" y="432"/>
                      <a:pt x="769" y="416"/>
                    </a:cubicBezTo>
                    <a:cubicBezTo>
                      <a:pt x="666" y="412"/>
                      <a:pt x="567" y="398"/>
                      <a:pt x="475" y="375"/>
                    </a:cubicBezTo>
                    <a:cubicBezTo>
                      <a:pt x="464" y="390"/>
                      <a:pt x="446" y="400"/>
                      <a:pt x="427" y="400"/>
                    </a:cubicBezTo>
                    <a:cubicBezTo>
                      <a:pt x="389" y="512"/>
                      <a:pt x="367" y="638"/>
                      <a:pt x="362" y="770"/>
                    </a:cubicBezTo>
                    <a:cubicBezTo>
                      <a:pt x="378" y="776"/>
                      <a:pt x="390" y="788"/>
                      <a:pt x="396" y="804"/>
                    </a:cubicBezTo>
                    <a:cubicBezTo>
                      <a:pt x="769" y="804"/>
                      <a:pt x="769" y="804"/>
                      <a:pt x="769" y="804"/>
                    </a:cubicBezTo>
                    <a:cubicBezTo>
                      <a:pt x="775" y="788"/>
                      <a:pt x="788" y="775"/>
                      <a:pt x="804" y="769"/>
                    </a:cubicBezTo>
                    <a:lnTo>
                      <a:pt x="804" y="452"/>
                    </a:lnTo>
                    <a:close/>
                    <a:moveTo>
                      <a:pt x="1225" y="400"/>
                    </a:moveTo>
                    <a:cubicBezTo>
                      <a:pt x="1206" y="400"/>
                      <a:pt x="1188" y="390"/>
                      <a:pt x="1177" y="375"/>
                    </a:cubicBezTo>
                    <a:cubicBezTo>
                      <a:pt x="1085" y="398"/>
                      <a:pt x="986" y="412"/>
                      <a:pt x="883" y="416"/>
                    </a:cubicBezTo>
                    <a:cubicBezTo>
                      <a:pt x="877" y="432"/>
                      <a:pt x="864" y="446"/>
                      <a:pt x="848" y="452"/>
                    </a:cubicBezTo>
                    <a:cubicBezTo>
                      <a:pt x="848" y="769"/>
                      <a:pt x="848" y="769"/>
                      <a:pt x="848" y="769"/>
                    </a:cubicBezTo>
                    <a:cubicBezTo>
                      <a:pt x="864" y="775"/>
                      <a:pt x="877" y="788"/>
                      <a:pt x="883" y="804"/>
                    </a:cubicBezTo>
                    <a:cubicBezTo>
                      <a:pt x="1256" y="804"/>
                      <a:pt x="1256" y="804"/>
                      <a:pt x="1256" y="804"/>
                    </a:cubicBezTo>
                    <a:cubicBezTo>
                      <a:pt x="1262" y="788"/>
                      <a:pt x="1274" y="776"/>
                      <a:pt x="1290" y="770"/>
                    </a:cubicBezTo>
                    <a:cubicBezTo>
                      <a:pt x="1285" y="638"/>
                      <a:pt x="1263" y="512"/>
                      <a:pt x="1225" y="400"/>
                    </a:cubicBezTo>
                    <a:close/>
                    <a:moveTo>
                      <a:pt x="769" y="848"/>
                    </a:moveTo>
                    <a:cubicBezTo>
                      <a:pt x="396" y="848"/>
                      <a:pt x="396" y="848"/>
                      <a:pt x="396" y="848"/>
                    </a:cubicBezTo>
                    <a:cubicBezTo>
                      <a:pt x="390" y="864"/>
                      <a:pt x="378" y="876"/>
                      <a:pt x="362" y="882"/>
                    </a:cubicBezTo>
                    <a:cubicBezTo>
                      <a:pt x="367" y="1014"/>
                      <a:pt x="389" y="1140"/>
                      <a:pt x="427" y="1252"/>
                    </a:cubicBezTo>
                    <a:cubicBezTo>
                      <a:pt x="446" y="1252"/>
                      <a:pt x="464" y="1262"/>
                      <a:pt x="475" y="1277"/>
                    </a:cubicBezTo>
                    <a:cubicBezTo>
                      <a:pt x="567" y="1254"/>
                      <a:pt x="666" y="1240"/>
                      <a:pt x="769" y="1236"/>
                    </a:cubicBezTo>
                    <a:cubicBezTo>
                      <a:pt x="775" y="1220"/>
                      <a:pt x="788" y="1206"/>
                      <a:pt x="804" y="1200"/>
                    </a:cubicBezTo>
                    <a:cubicBezTo>
                      <a:pt x="804" y="883"/>
                      <a:pt x="804" y="883"/>
                      <a:pt x="804" y="883"/>
                    </a:cubicBezTo>
                    <a:cubicBezTo>
                      <a:pt x="788" y="877"/>
                      <a:pt x="775" y="864"/>
                      <a:pt x="769" y="848"/>
                    </a:cubicBezTo>
                    <a:close/>
                    <a:moveTo>
                      <a:pt x="1151" y="1421"/>
                    </a:moveTo>
                    <a:cubicBezTo>
                      <a:pt x="1163" y="1401"/>
                      <a:pt x="1174" y="1379"/>
                      <a:pt x="1184" y="1357"/>
                    </a:cubicBezTo>
                    <a:cubicBezTo>
                      <a:pt x="1174" y="1347"/>
                      <a:pt x="1167" y="1334"/>
                      <a:pt x="1166" y="1319"/>
                    </a:cubicBezTo>
                    <a:cubicBezTo>
                      <a:pt x="1077" y="1297"/>
                      <a:pt x="981" y="1284"/>
                      <a:pt x="882" y="1280"/>
                    </a:cubicBezTo>
                    <a:cubicBezTo>
                      <a:pt x="876" y="1296"/>
                      <a:pt x="864" y="1308"/>
                      <a:pt x="848" y="1314"/>
                    </a:cubicBezTo>
                    <a:cubicBezTo>
                      <a:pt x="848" y="1652"/>
                      <a:pt x="848" y="1652"/>
                      <a:pt x="848" y="1652"/>
                    </a:cubicBezTo>
                    <a:cubicBezTo>
                      <a:pt x="869" y="1651"/>
                      <a:pt x="889" y="1650"/>
                      <a:pt x="909" y="1648"/>
                    </a:cubicBezTo>
                    <a:cubicBezTo>
                      <a:pt x="1000" y="1618"/>
                      <a:pt x="1083" y="1540"/>
                      <a:pt x="1151" y="1421"/>
                    </a:cubicBezTo>
                    <a:close/>
                    <a:moveTo>
                      <a:pt x="1290" y="882"/>
                    </a:moveTo>
                    <a:cubicBezTo>
                      <a:pt x="1274" y="876"/>
                      <a:pt x="1262" y="864"/>
                      <a:pt x="1256" y="848"/>
                    </a:cubicBezTo>
                    <a:cubicBezTo>
                      <a:pt x="883" y="848"/>
                      <a:pt x="883" y="848"/>
                      <a:pt x="883" y="848"/>
                    </a:cubicBezTo>
                    <a:cubicBezTo>
                      <a:pt x="877" y="864"/>
                      <a:pt x="864" y="877"/>
                      <a:pt x="848" y="883"/>
                    </a:cubicBezTo>
                    <a:cubicBezTo>
                      <a:pt x="848" y="1200"/>
                      <a:pt x="848" y="1200"/>
                      <a:pt x="848" y="1200"/>
                    </a:cubicBezTo>
                    <a:cubicBezTo>
                      <a:pt x="864" y="1206"/>
                      <a:pt x="877" y="1220"/>
                      <a:pt x="883" y="1236"/>
                    </a:cubicBezTo>
                    <a:cubicBezTo>
                      <a:pt x="986" y="1240"/>
                      <a:pt x="1085" y="1254"/>
                      <a:pt x="1177" y="1277"/>
                    </a:cubicBezTo>
                    <a:cubicBezTo>
                      <a:pt x="1188" y="1262"/>
                      <a:pt x="1206" y="1252"/>
                      <a:pt x="1225" y="1252"/>
                    </a:cubicBezTo>
                    <a:cubicBezTo>
                      <a:pt x="1263" y="1140"/>
                      <a:pt x="1285" y="1014"/>
                      <a:pt x="1290" y="882"/>
                    </a:cubicBezTo>
                    <a:close/>
                    <a:moveTo>
                      <a:pt x="1267" y="385"/>
                    </a:moveTo>
                    <a:cubicBezTo>
                      <a:pt x="1306" y="501"/>
                      <a:pt x="1329" y="632"/>
                      <a:pt x="1334" y="769"/>
                    </a:cubicBezTo>
                    <a:cubicBezTo>
                      <a:pt x="1350" y="775"/>
                      <a:pt x="1363" y="788"/>
                      <a:pt x="1370" y="804"/>
                    </a:cubicBezTo>
                    <a:cubicBezTo>
                      <a:pt x="1652" y="804"/>
                      <a:pt x="1652" y="804"/>
                      <a:pt x="1652" y="804"/>
                    </a:cubicBezTo>
                    <a:cubicBezTo>
                      <a:pt x="1646" y="600"/>
                      <a:pt x="1567" y="415"/>
                      <a:pt x="1440" y="274"/>
                    </a:cubicBezTo>
                    <a:cubicBezTo>
                      <a:pt x="1393" y="300"/>
                      <a:pt x="1342" y="323"/>
                      <a:pt x="1287" y="342"/>
                    </a:cubicBezTo>
                    <a:cubicBezTo>
                      <a:pt x="1286" y="359"/>
                      <a:pt x="1279" y="374"/>
                      <a:pt x="1267" y="385"/>
                    </a:cubicBezTo>
                    <a:close/>
                    <a:moveTo>
                      <a:pt x="1274" y="1352"/>
                    </a:moveTo>
                    <a:cubicBezTo>
                      <a:pt x="1262" y="1365"/>
                      <a:pt x="1245" y="1374"/>
                      <a:pt x="1227" y="1374"/>
                    </a:cubicBezTo>
                    <a:cubicBezTo>
                      <a:pt x="1226" y="1374"/>
                      <a:pt x="1225" y="1374"/>
                      <a:pt x="1225" y="1374"/>
                    </a:cubicBezTo>
                    <a:cubicBezTo>
                      <a:pt x="1214" y="1398"/>
                      <a:pt x="1202" y="1421"/>
                      <a:pt x="1189" y="1443"/>
                    </a:cubicBezTo>
                    <a:cubicBezTo>
                      <a:pt x="1146" y="1519"/>
                      <a:pt x="1096" y="1579"/>
                      <a:pt x="1042" y="1623"/>
                    </a:cubicBezTo>
                    <a:cubicBezTo>
                      <a:pt x="1182" y="1585"/>
                      <a:pt x="1308" y="1511"/>
                      <a:pt x="1408" y="1411"/>
                    </a:cubicBezTo>
                    <a:cubicBezTo>
                      <a:pt x="1367" y="1389"/>
                      <a:pt x="1321" y="1369"/>
                      <a:pt x="1274" y="1352"/>
                    </a:cubicBezTo>
                    <a:close/>
                    <a:moveTo>
                      <a:pt x="463" y="1443"/>
                    </a:moveTo>
                    <a:cubicBezTo>
                      <a:pt x="450" y="1421"/>
                      <a:pt x="438" y="1398"/>
                      <a:pt x="427" y="1374"/>
                    </a:cubicBezTo>
                    <a:cubicBezTo>
                      <a:pt x="427" y="1374"/>
                      <a:pt x="426" y="1374"/>
                      <a:pt x="426" y="1374"/>
                    </a:cubicBezTo>
                    <a:cubicBezTo>
                      <a:pt x="407" y="1374"/>
                      <a:pt x="390" y="1365"/>
                      <a:pt x="378" y="1352"/>
                    </a:cubicBezTo>
                    <a:cubicBezTo>
                      <a:pt x="331" y="1369"/>
                      <a:pt x="285" y="1389"/>
                      <a:pt x="244" y="1411"/>
                    </a:cubicBezTo>
                    <a:cubicBezTo>
                      <a:pt x="344" y="1511"/>
                      <a:pt x="470" y="1585"/>
                      <a:pt x="610" y="1623"/>
                    </a:cubicBezTo>
                    <a:cubicBezTo>
                      <a:pt x="556" y="1579"/>
                      <a:pt x="506" y="1519"/>
                      <a:pt x="463" y="1443"/>
                    </a:cubicBezTo>
                    <a:close/>
                    <a:moveTo>
                      <a:pt x="770" y="1280"/>
                    </a:moveTo>
                    <a:cubicBezTo>
                      <a:pt x="671" y="1284"/>
                      <a:pt x="575" y="1297"/>
                      <a:pt x="486" y="1319"/>
                    </a:cubicBezTo>
                    <a:cubicBezTo>
                      <a:pt x="485" y="1334"/>
                      <a:pt x="478" y="1347"/>
                      <a:pt x="468" y="1357"/>
                    </a:cubicBezTo>
                    <a:cubicBezTo>
                      <a:pt x="478" y="1379"/>
                      <a:pt x="489" y="1401"/>
                      <a:pt x="501" y="1421"/>
                    </a:cubicBezTo>
                    <a:cubicBezTo>
                      <a:pt x="569" y="1540"/>
                      <a:pt x="652" y="1618"/>
                      <a:pt x="743" y="1648"/>
                    </a:cubicBezTo>
                    <a:cubicBezTo>
                      <a:pt x="763" y="1650"/>
                      <a:pt x="783" y="1651"/>
                      <a:pt x="804" y="1652"/>
                    </a:cubicBezTo>
                    <a:cubicBezTo>
                      <a:pt x="804" y="1314"/>
                      <a:pt x="804" y="1314"/>
                      <a:pt x="804" y="1314"/>
                    </a:cubicBezTo>
                    <a:cubicBezTo>
                      <a:pt x="788" y="1308"/>
                      <a:pt x="776" y="1296"/>
                      <a:pt x="770" y="1280"/>
                    </a:cubicBezTo>
                    <a:close/>
                    <a:moveTo>
                      <a:pt x="1370" y="848"/>
                    </a:moveTo>
                    <a:cubicBezTo>
                      <a:pt x="1363" y="864"/>
                      <a:pt x="1350" y="877"/>
                      <a:pt x="1334" y="883"/>
                    </a:cubicBezTo>
                    <a:cubicBezTo>
                      <a:pt x="1329" y="1020"/>
                      <a:pt x="1306" y="1151"/>
                      <a:pt x="1267" y="1267"/>
                    </a:cubicBezTo>
                    <a:cubicBezTo>
                      <a:pt x="1279" y="1278"/>
                      <a:pt x="1286" y="1293"/>
                      <a:pt x="1287" y="1310"/>
                    </a:cubicBezTo>
                    <a:cubicBezTo>
                      <a:pt x="1342" y="1329"/>
                      <a:pt x="1393" y="1352"/>
                      <a:pt x="1440" y="1378"/>
                    </a:cubicBezTo>
                    <a:cubicBezTo>
                      <a:pt x="1567" y="1237"/>
                      <a:pt x="1646" y="1052"/>
                      <a:pt x="1652" y="848"/>
                    </a:cubicBezTo>
                    <a:lnTo>
                      <a:pt x="1370" y="848"/>
                    </a:lnTo>
                    <a:close/>
                    <a:moveTo>
                      <a:pt x="804" y="0"/>
                    </a:moveTo>
                    <a:cubicBezTo>
                      <a:pt x="783" y="1"/>
                      <a:pt x="763" y="2"/>
                      <a:pt x="743" y="4"/>
                    </a:cubicBezTo>
                    <a:cubicBezTo>
                      <a:pt x="652" y="34"/>
                      <a:pt x="569" y="112"/>
                      <a:pt x="501" y="231"/>
                    </a:cubicBezTo>
                    <a:cubicBezTo>
                      <a:pt x="489" y="251"/>
                      <a:pt x="478" y="273"/>
                      <a:pt x="468" y="295"/>
                    </a:cubicBezTo>
                    <a:cubicBezTo>
                      <a:pt x="478" y="305"/>
                      <a:pt x="485" y="318"/>
                      <a:pt x="486" y="333"/>
                    </a:cubicBezTo>
                    <a:cubicBezTo>
                      <a:pt x="575" y="355"/>
                      <a:pt x="671" y="368"/>
                      <a:pt x="770" y="372"/>
                    </a:cubicBezTo>
                    <a:cubicBezTo>
                      <a:pt x="776" y="356"/>
                      <a:pt x="788" y="344"/>
                      <a:pt x="804" y="338"/>
                    </a:cubicBezTo>
                    <a:lnTo>
                      <a:pt x="804" y="0"/>
                    </a:lnTo>
                    <a:close/>
                    <a:moveTo>
                      <a:pt x="378" y="300"/>
                    </a:moveTo>
                    <a:cubicBezTo>
                      <a:pt x="390" y="287"/>
                      <a:pt x="407" y="278"/>
                      <a:pt x="426" y="278"/>
                    </a:cubicBezTo>
                    <a:cubicBezTo>
                      <a:pt x="426" y="278"/>
                      <a:pt x="427" y="278"/>
                      <a:pt x="427" y="278"/>
                    </a:cubicBezTo>
                    <a:cubicBezTo>
                      <a:pt x="438" y="254"/>
                      <a:pt x="450" y="231"/>
                      <a:pt x="463" y="209"/>
                    </a:cubicBezTo>
                    <a:cubicBezTo>
                      <a:pt x="506" y="133"/>
                      <a:pt x="556" y="73"/>
                      <a:pt x="610" y="29"/>
                    </a:cubicBezTo>
                    <a:cubicBezTo>
                      <a:pt x="470" y="67"/>
                      <a:pt x="344" y="141"/>
                      <a:pt x="244" y="241"/>
                    </a:cubicBezTo>
                    <a:cubicBezTo>
                      <a:pt x="285" y="263"/>
                      <a:pt x="331" y="283"/>
                      <a:pt x="378" y="300"/>
                    </a:cubicBezTo>
                    <a:close/>
                    <a:moveTo>
                      <a:pt x="282" y="804"/>
                    </a:moveTo>
                    <a:cubicBezTo>
                      <a:pt x="289" y="788"/>
                      <a:pt x="302" y="775"/>
                      <a:pt x="318" y="769"/>
                    </a:cubicBezTo>
                    <a:cubicBezTo>
                      <a:pt x="323" y="632"/>
                      <a:pt x="346" y="501"/>
                      <a:pt x="385" y="385"/>
                    </a:cubicBezTo>
                    <a:cubicBezTo>
                      <a:pt x="373" y="374"/>
                      <a:pt x="366" y="359"/>
                      <a:pt x="365" y="342"/>
                    </a:cubicBezTo>
                    <a:cubicBezTo>
                      <a:pt x="310" y="323"/>
                      <a:pt x="259" y="300"/>
                      <a:pt x="212" y="274"/>
                    </a:cubicBezTo>
                    <a:cubicBezTo>
                      <a:pt x="85" y="415"/>
                      <a:pt x="6" y="600"/>
                      <a:pt x="0" y="804"/>
                    </a:cubicBezTo>
                    <a:lnTo>
                      <a:pt x="282" y="804"/>
                    </a:lnTo>
                    <a:close/>
                    <a:moveTo>
                      <a:pt x="385" y="1267"/>
                    </a:moveTo>
                    <a:cubicBezTo>
                      <a:pt x="346" y="1151"/>
                      <a:pt x="323" y="1020"/>
                      <a:pt x="318" y="883"/>
                    </a:cubicBezTo>
                    <a:cubicBezTo>
                      <a:pt x="302" y="877"/>
                      <a:pt x="289" y="864"/>
                      <a:pt x="282" y="848"/>
                    </a:cubicBezTo>
                    <a:cubicBezTo>
                      <a:pt x="0" y="848"/>
                      <a:pt x="0" y="848"/>
                      <a:pt x="0" y="848"/>
                    </a:cubicBezTo>
                    <a:cubicBezTo>
                      <a:pt x="6" y="1052"/>
                      <a:pt x="85" y="1237"/>
                      <a:pt x="212" y="1378"/>
                    </a:cubicBezTo>
                    <a:cubicBezTo>
                      <a:pt x="259" y="1352"/>
                      <a:pt x="310" y="1329"/>
                      <a:pt x="365" y="1310"/>
                    </a:cubicBezTo>
                    <a:cubicBezTo>
                      <a:pt x="366" y="1293"/>
                      <a:pt x="373" y="1278"/>
                      <a:pt x="385" y="1267"/>
                    </a:cubicBezTo>
                    <a:close/>
                  </a:path>
                </a:pathLst>
              </a:custGeom>
              <a:solidFill>
                <a:srgbClr val="002E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cs typeface="Calibri" panose="020F0502020204030204" pitchFamily="34" charset="0"/>
                </a:endParaRPr>
              </a:p>
            </p:txBody>
          </p:sp>
        </p:grpSp>
      </p:grpSp>
      <p:sp>
        <p:nvSpPr>
          <p:cNvPr id="22" name="Título 1">
            <a:extLst>
              <a:ext uri="{FF2B5EF4-FFF2-40B4-BE49-F238E27FC236}">
                <a16:creationId xmlns:a16="http://schemas.microsoft.com/office/drawing/2014/main" id="{D93564DC-40EA-A412-436C-37081039C00D}"/>
              </a:ext>
            </a:extLst>
          </p:cNvPr>
          <p:cNvSpPr txBox="1">
            <a:spLocks/>
          </p:cNvSpPr>
          <p:nvPr/>
        </p:nvSpPr>
        <p:spPr>
          <a:xfrm>
            <a:off x="4535480" y="3623485"/>
            <a:ext cx="3276870" cy="468770"/>
          </a:xfrm>
          <a:prstGeom prst="rect">
            <a:avLst/>
          </a:prstGeom>
        </p:spPr>
        <p:txBody>
          <a:bodyPr vert="horz" anchor="t"/>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b="1" dirty="0">
                <a:solidFill>
                  <a:schemeClr val="bg1"/>
                </a:solidFill>
                <a:latin typeface="Calibri" panose="020F0502020204030204" pitchFamily="34" charset="0"/>
                <a:cs typeface="Calibri" panose="020F0502020204030204" pitchFamily="34" charset="0"/>
              </a:rPr>
              <a:t>Diverse backgrounds </a:t>
            </a:r>
            <a:endParaRPr lang="en-US" dirty="0">
              <a:solidFill>
                <a:schemeClr val="bg1"/>
              </a:solidFill>
              <a:latin typeface="Calibri" panose="020F0502020204030204" pitchFamily="34" charset="0"/>
              <a:cs typeface="Calibri" panose="020F0502020204030204" pitchFamily="34" charset="0"/>
            </a:endParaRPr>
          </a:p>
        </p:txBody>
      </p:sp>
      <p:grpSp>
        <p:nvGrpSpPr>
          <p:cNvPr id="34" name="Group 33">
            <a:extLst>
              <a:ext uri="{FF2B5EF4-FFF2-40B4-BE49-F238E27FC236}">
                <a16:creationId xmlns:a16="http://schemas.microsoft.com/office/drawing/2014/main" id="{54F8B692-06B3-4E77-A482-661E5288E940}"/>
              </a:ext>
            </a:extLst>
          </p:cNvPr>
          <p:cNvGrpSpPr/>
          <p:nvPr/>
        </p:nvGrpSpPr>
        <p:grpSpPr>
          <a:xfrm>
            <a:off x="722629" y="4163256"/>
            <a:ext cx="1270108" cy="1270106"/>
            <a:chOff x="5548533" y="2712693"/>
            <a:chExt cx="1270108" cy="1270106"/>
          </a:xfrm>
        </p:grpSpPr>
        <p:grpSp>
          <p:nvGrpSpPr>
            <p:cNvPr id="10" name="Grupo 9">
              <a:extLst>
                <a:ext uri="{FF2B5EF4-FFF2-40B4-BE49-F238E27FC236}">
                  <a16:creationId xmlns:a16="http://schemas.microsoft.com/office/drawing/2014/main" id="{58BFFE5E-9D0F-7630-3D6F-70A989540492}"/>
                </a:ext>
              </a:extLst>
            </p:cNvPr>
            <p:cNvGrpSpPr/>
            <p:nvPr/>
          </p:nvGrpSpPr>
          <p:grpSpPr>
            <a:xfrm>
              <a:off x="5548533" y="2712693"/>
              <a:ext cx="1270108" cy="1270106"/>
              <a:chOff x="7381792" y="-1803918"/>
              <a:chExt cx="1333008" cy="1333008"/>
            </a:xfrm>
          </p:grpSpPr>
          <p:sp>
            <p:nvSpPr>
              <p:cNvPr id="11" name="Oval 4">
                <a:extLst>
                  <a:ext uri="{FF2B5EF4-FFF2-40B4-BE49-F238E27FC236}">
                    <a16:creationId xmlns:a16="http://schemas.microsoft.com/office/drawing/2014/main" id="{1D3D367D-2BBB-1570-C15C-4DE6B0672E95}"/>
                  </a:ext>
                </a:extLst>
              </p:cNvPr>
              <p:cNvSpPr/>
              <p:nvPr/>
            </p:nvSpPr>
            <p:spPr>
              <a:xfrm>
                <a:off x="7381792" y="-1803918"/>
                <a:ext cx="1333008" cy="1333008"/>
              </a:xfrm>
              <a:prstGeom prst="ellipse">
                <a:avLst/>
              </a:prstGeom>
              <a:solidFill>
                <a:schemeClr val="bg1">
                  <a:lumMod val="95000"/>
                </a:schemeClr>
              </a:solidFill>
              <a:ln w="3175" cap="flat" cmpd="sng" algn="ctr">
                <a:noFill/>
                <a:prstDash val="solid"/>
              </a:ln>
              <a:effectLst>
                <a:outerShdw blurRad="38100" dist="25400" dir="16200000" rotWithShape="0">
                  <a:prstClr val="black">
                    <a:alpha val="30000"/>
                  </a:prstClr>
                </a:outerShdw>
              </a:effectLst>
            </p:spPr>
            <p:txBody>
              <a:bodyPr lIns="71839" tIns="71839" rIns="71839" bIns="71839"/>
              <a:lstStyle/>
              <a:p>
                <a:pPr algn="ctr" defTabSz="912345" eaLnBrk="0" hangingPunct="0">
                  <a:spcBef>
                    <a:spcPts val="1800"/>
                  </a:spcBef>
                  <a:buClr>
                    <a:srgbClr val="415A9C"/>
                  </a:buClr>
                </a:pPr>
                <a:endParaRPr lang="en-US" sz="1600" kern="0">
                  <a:solidFill>
                    <a:schemeClr val="tx2"/>
                  </a:solidFill>
                  <a:latin typeface="Calibri" panose="020F0502020204030204" pitchFamily="34" charset="0"/>
                  <a:cs typeface="Calibri" panose="020F0502020204030204" pitchFamily="34" charset="0"/>
                </a:endParaRPr>
              </a:p>
            </p:txBody>
          </p:sp>
          <p:sp>
            <p:nvSpPr>
              <p:cNvPr id="12" name="Oval 5">
                <a:extLst>
                  <a:ext uri="{FF2B5EF4-FFF2-40B4-BE49-F238E27FC236}">
                    <a16:creationId xmlns:a16="http://schemas.microsoft.com/office/drawing/2014/main" id="{479B153F-C737-DEA0-1008-23EDD427F42B}"/>
                  </a:ext>
                </a:extLst>
              </p:cNvPr>
              <p:cNvSpPr/>
              <p:nvPr/>
            </p:nvSpPr>
            <p:spPr>
              <a:xfrm>
                <a:off x="7472839" y="-1712870"/>
                <a:ext cx="1150913" cy="1150913"/>
              </a:xfrm>
              <a:prstGeom prst="ellipse">
                <a:avLst/>
              </a:prstGeom>
              <a:solidFill>
                <a:srgbClr val="FFFFFF"/>
              </a:solidFill>
              <a:ln w="3175" cap="flat" cmpd="sng" algn="ctr">
                <a:solidFill>
                  <a:srgbClr val="FFFFFF">
                    <a:lumMod val="85000"/>
                  </a:srgbClr>
                </a:solidFill>
                <a:prstDash val="solid"/>
              </a:ln>
              <a:effectLst/>
            </p:spPr>
            <p:txBody>
              <a:bodyPr lIns="71839" tIns="71839" rIns="71839" bIns="71839" anchor="ctr"/>
              <a:lstStyle/>
              <a:p>
                <a:pPr algn="ctr" defTabSz="912345" eaLnBrk="0" hangingPunct="0">
                  <a:spcBef>
                    <a:spcPts val="1800"/>
                  </a:spcBef>
                  <a:buClr>
                    <a:srgbClr val="415A9C"/>
                  </a:buClr>
                </a:pPr>
                <a:endParaRPr lang="en-US" sz="2400" b="1" kern="0">
                  <a:solidFill>
                    <a:srgbClr val="002E62"/>
                  </a:solidFill>
                  <a:latin typeface="Calibri" panose="020F0502020204030204" pitchFamily="34" charset="0"/>
                  <a:cs typeface="Calibri" panose="020F0502020204030204" pitchFamily="34" charset="0"/>
                </a:endParaRPr>
              </a:p>
            </p:txBody>
          </p:sp>
        </p:grpSp>
        <p:grpSp>
          <p:nvGrpSpPr>
            <p:cNvPr id="15" name="bcgIcons_Large Group of People/Public ">
              <a:extLst>
                <a:ext uri="{FF2B5EF4-FFF2-40B4-BE49-F238E27FC236}">
                  <a16:creationId xmlns:a16="http://schemas.microsoft.com/office/drawing/2014/main" id="{29881ACA-BFA2-19D1-8437-AFDCA98E6BE9}"/>
                </a:ext>
              </a:extLst>
            </p:cNvPr>
            <p:cNvGrpSpPr>
              <a:grpSpLocks noChangeAspect="1"/>
            </p:cNvGrpSpPr>
            <p:nvPr/>
          </p:nvGrpSpPr>
          <p:grpSpPr>
            <a:xfrm>
              <a:off x="5726809" y="2890546"/>
              <a:ext cx="913554" cy="914400"/>
              <a:chOff x="5273803" y="2606040"/>
              <a:chExt cx="1644396" cy="1645920"/>
            </a:xfrm>
          </p:grpSpPr>
          <p:sp>
            <p:nvSpPr>
              <p:cNvPr id="16" name="AutoShape 18">
                <a:extLst>
                  <a:ext uri="{FF2B5EF4-FFF2-40B4-BE49-F238E27FC236}">
                    <a16:creationId xmlns:a16="http://schemas.microsoft.com/office/drawing/2014/main" id="{1AD63F16-2E3A-37F1-813B-3F0B588CCF9B}"/>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 name="Group 17">
                <a:extLst>
                  <a:ext uri="{FF2B5EF4-FFF2-40B4-BE49-F238E27FC236}">
                    <a16:creationId xmlns:a16="http://schemas.microsoft.com/office/drawing/2014/main" id="{61213540-FB54-2406-77C2-B0B68ABAF9D7}"/>
                  </a:ext>
                </a:extLst>
              </p:cNvPr>
              <p:cNvGrpSpPr/>
              <p:nvPr/>
            </p:nvGrpSpPr>
            <p:grpSpPr>
              <a:xfrm>
                <a:off x="5336668" y="2770251"/>
                <a:ext cx="1515999" cy="1311783"/>
                <a:chOff x="5336668" y="2770251"/>
                <a:chExt cx="1515999" cy="1311783"/>
              </a:xfrm>
            </p:grpSpPr>
            <p:sp>
              <p:nvSpPr>
                <p:cNvPr id="23" name="Freeform 20">
                  <a:extLst>
                    <a:ext uri="{FF2B5EF4-FFF2-40B4-BE49-F238E27FC236}">
                      <a16:creationId xmlns:a16="http://schemas.microsoft.com/office/drawing/2014/main" id="{11EF4FF1-1F26-EA46-930A-A46A4CDC9B74}"/>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2E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
                  <a:extLst>
                    <a:ext uri="{FF2B5EF4-FFF2-40B4-BE49-F238E27FC236}">
                      <a16:creationId xmlns:a16="http://schemas.microsoft.com/office/drawing/2014/main" id="{D8F2E427-2CA7-7109-C340-0467F3503D99}"/>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0075BE"/>
                </a:solidFill>
                <a:ln>
                  <a:noFill/>
                </a:ln>
              </p:spPr>
              <p:txBody>
                <a:bodyPr vert="horz" wrap="square" lIns="91440" tIns="45720" rIns="91440" bIns="45720" numCol="1" anchor="t" anchorCtr="0" compatLnSpc="1">
                  <a:prstTxWarp prst="textNoShape">
                    <a:avLst/>
                  </a:prstTxWarp>
                </a:bodyPr>
                <a:lstStyle/>
                <a:p>
                  <a:endParaRPr lang="en-US"/>
                </a:p>
              </p:txBody>
            </p:sp>
          </p:grpSp>
        </p:grpSp>
      </p:grpSp>
      <p:sp>
        <p:nvSpPr>
          <p:cNvPr id="44" name="TextBox 43">
            <a:extLst>
              <a:ext uri="{FF2B5EF4-FFF2-40B4-BE49-F238E27FC236}">
                <a16:creationId xmlns:a16="http://schemas.microsoft.com/office/drawing/2014/main" id="{8BE9CC88-F126-4C8F-1D18-EB72B0F13930}"/>
              </a:ext>
            </a:extLst>
          </p:cNvPr>
          <p:cNvSpPr txBox="1"/>
          <p:nvPr/>
        </p:nvSpPr>
        <p:spPr>
          <a:xfrm>
            <a:off x="2272124" y="4101179"/>
            <a:ext cx="2369604" cy="479860"/>
          </a:xfrm>
          <a:prstGeom prst="roundRect">
            <a:avLst/>
          </a:prstGeom>
          <a:solidFill>
            <a:schemeClr val="bg1">
              <a:alpha val="28000"/>
            </a:schemeClr>
          </a:solidFill>
          <a:ln w="9525" cap="rnd">
            <a:no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latin typeface="Calibri" panose="020F0502020204030204" pitchFamily="34" charset="0"/>
                <a:cs typeface="Calibri" panose="020F0502020204030204" pitchFamily="34" charset="0"/>
              </a:rPr>
              <a:t>Ministries of Health</a:t>
            </a:r>
          </a:p>
        </p:txBody>
      </p:sp>
      <p:sp>
        <p:nvSpPr>
          <p:cNvPr id="42" name="TextBox 41">
            <a:extLst>
              <a:ext uri="{FF2B5EF4-FFF2-40B4-BE49-F238E27FC236}">
                <a16:creationId xmlns:a16="http://schemas.microsoft.com/office/drawing/2014/main" id="{DAE90DC9-5D2D-5E2B-4E4C-3EA650541B22}"/>
              </a:ext>
            </a:extLst>
          </p:cNvPr>
          <p:cNvSpPr txBox="1"/>
          <p:nvPr/>
        </p:nvSpPr>
        <p:spPr>
          <a:xfrm>
            <a:off x="7980383" y="4101179"/>
            <a:ext cx="2369604" cy="479860"/>
          </a:xfrm>
          <a:prstGeom prst="roundRect">
            <a:avLst/>
          </a:prstGeom>
          <a:solidFill>
            <a:schemeClr val="bg1">
              <a:alpha val="28000"/>
            </a:schemeClr>
          </a:solidFill>
          <a:ln w="9525" cap="rnd">
            <a:no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latin typeface="Calibri" panose="020F0502020204030204" pitchFamily="34" charset="0"/>
                <a:cs typeface="Calibri" panose="020F0502020204030204" pitchFamily="34" charset="0"/>
              </a:rPr>
              <a:t>Industry and Private Sector</a:t>
            </a:r>
          </a:p>
        </p:txBody>
      </p:sp>
      <p:sp>
        <p:nvSpPr>
          <p:cNvPr id="41" name="TextBox 40">
            <a:extLst>
              <a:ext uri="{FF2B5EF4-FFF2-40B4-BE49-F238E27FC236}">
                <a16:creationId xmlns:a16="http://schemas.microsoft.com/office/drawing/2014/main" id="{58DE9636-987E-D6DF-861E-9207BAD29341}"/>
              </a:ext>
            </a:extLst>
          </p:cNvPr>
          <p:cNvSpPr txBox="1"/>
          <p:nvPr/>
        </p:nvSpPr>
        <p:spPr>
          <a:xfrm>
            <a:off x="5126254" y="4694926"/>
            <a:ext cx="2369604" cy="479860"/>
          </a:xfrm>
          <a:prstGeom prst="roundRect">
            <a:avLst/>
          </a:prstGeom>
          <a:solidFill>
            <a:schemeClr val="bg1">
              <a:alpha val="28000"/>
            </a:schemeClr>
          </a:solidFill>
          <a:ln w="9525" cap="rnd">
            <a:no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FFFFFF"/>
                </a:solidFill>
                <a:latin typeface="Calibri" panose="020F0502020204030204" pitchFamily="34" charset="0"/>
                <a:cs typeface="Calibri" panose="020F0502020204030204" pitchFamily="34" charset="0"/>
              </a:rPr>
              <a:t>International donors</a:t>
            </a:r>
          </a:p>
        </p:txBody>
      </p:sp>
      <p:sp>
        <p:nvSpPr>
          <p:cNvPr id="45" name="TextBox 44">
            <a:extLst>
              <a:ext uri="{FF2B5EF4-FFF2-40B4-BE49-F238E27FC236}">
                <a16:creationId xmlns:a16="http://schemas.microsoft.com/office/drawing/2014/main" id="{B8EF50CE-348F-3C1D-1AD9-45746D2D4829}"/>
              </a:ext>
            </a:extLst>
          </p:cNvPr>
          <p:cNvSpPr txBox="1"/>
          <p:nvPr/>
        </p:nvSpPr>
        <p:spPr>
          <a:xfrm>
            <a:off x="2272124" y="5288673"/>
            <a:ext cx="2369604" cy="479860"/>
          </a:xfrm>
          <a:prstGeom prst="roundRect">
            <a:avLst/>
          </a:prstGeom>
          <a:solidFill>
            <a:schemeClr val="bg1">
              <a:alpha val="28000"/>
            </a:schemeClr>
          </a:solidFill>
          <a:ln w="9525" cap="rnd">
            <a:no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FFFFFF"/>
                </a:solidFill>
                <a:latin typeface="Calibri" panose="020F0502020204030204" pitchFamily="34" charset="0"/>
                <a:cs typeface="Calibri" panose="020F0502020204030204" pitchFamily="34" charset="0"/>
              </a:rPr>
              <a:t>UN Agencies and Partnerships</a:t>
            </a:r>
          </a:p>
        </p:txBody>
      </p:sp>
      <p:sp>
        <p:nvSpPr>
          <p:cNvPr id="39" name="TextBox 38">
            <a:extLst>
              <a:ext uri="{FF2B5EF4-FFF2-40B4-BE49-F238E27FC236}">
                <a16:creationId xmlns:a16="http://schemas.microsoft.com/office/drawing/2014/main" id="{629F64A9-0099-0BEE-2E10-8089382DB710}"/>
              </a:ext>
            </a:extLst>
          </p:cNvPr>
          <p:cNvSpPr txBox="1"/>
          <p:nvPr/>
        </p:nvSpPr>
        <p:spPr>
          <a:xfrm>
            <a:off x="5156536" y="4101179"/>
            <a:ext cx="2369604" cy="479860"/>
          </a:xfrm>
          <a:prstGeom prst="roundRect">
            <a:avLst/>
          </a:prstGeom>
          <a:solidFill>
            <a:schemeClr val="bg1">
              <a:alpha val="28000"/>
            </a:schemeClr>
          </a:solidFill>
          <a:ln w="9525" cap="rnd">
            <a:no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latin typeface="Calibri" panose="020F0502020204030204" pitchFamily="34" charset="0"/>
                <a:cs typeface="Calibri" panose="020F0502020204030204" pitchFamily="34" charset="0"/>
              </a:rPr>
              <a:t>Academic Researchers</a:t>
            </a:r>
          </a:p>
        </p:txBody>
      </p:sp>
      <p:sp>
        <p:nvSpPr>
          <p:cNvPr id="43" name="TextBox 42">
            <a:extLst>
              <a:ext uri="{FF2B5EF4-FFF2-40B4-BE49-F238E27FC236}">
                <a16:creationId xmlns:a16="http://schemas.microsoft.com/office/drawing/2014/main" id="{79FDBA82-33E9-4CBA-53F8-5E96DADCB6C6}"/>
              </a:ext>
            </a:extLst>
          </p:cNvPr>
          <p:cNvSpPr txBox="1"/>
          <p:nvPr/>
        </p:nvSpPr>
        <p:spPr>
          <a:xfrm>
            <a:off x="2272124" y="4694926"/>
            <a:ext cx="2369604" cy="479860"/>
          </a:xfrm>
          <a:prstGeom prst="roundRect">
            <a:avLst/>
          </a:prstGeom>
          <a:solidFill>
            <a:schemeClr val="bg1">
              <a:alpha val="28000"/>
            </a:schemeClr>
          </a:solidFill>
          <a:ln w="9525" cap="rnd">
            <a:no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FFFFFF"/>
                </a:solidFill>
                <a:latin typeface="Calibri" panose="020F0502020204030204" pitchFamily="34" charset="0"/>
                <a:cs typeface="Calibri" panose="020F0502020204030204" pitchFamily="34" charset="0"/>
              </a:rPr>
              <a:t>Professional Associations</a:t>
            </a:r>
          </a:p>
        </p:txBody>
      </p:sp>
      <p:sp>
        <p:nvSpPr>
          <p:cNvPr id="47" name="TextBox 46">
            <a:extLst>
              <a:ext uri="{FF2B5EF4-FFF2-40B4-BE49-F238E27FC236}">
                <a16:creationId xmlns:a16="http://schemas.microsoft.com/office/drawing/2014/main" id="{8F736F28-F134-40D8-3B9D-2C01740110CB}"/>
              </a:ext>
            </a:extLst>
          </p:cNvPr>
          <p:cNvSpPr txBox="1"/>
          <p:nvPr/>
        </p:nvSpPr>
        <p:spPr>
          <a:xfrm>
            <a:off x="7980383" y="4694926"/>
            <a:ext cx="2369604" cy="479860"/>
          </a:xfrm>
          <a:prstGeom prst="roundRect">
            <a:avLst/>
          </a:prstGeom>
          <a:solidFill>
            <a:schemeClr val="bg1">
              <a:alpha val="28000"/>
            </a:schemeClr>
          </a:solidFill>
          <a:ln w="9525" cap="rnd">
            <a:no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a:solidFill>
                  <a:srgbClr val="FFFFFF"/>
                </a:solidFill>
                <a:latin typeface="Calibri" panose="020F0502020204030204" pitchFamily="34" charset="0"/>
                <a:cs typeface="Calibri" panose="020F0502020204030204" pitchFamily="34" charset="0"/>
              </a:rPr>
              <a:t>Non-Governmental Organizations</a:t>
            </a:r>
          </a:p>
        </p:txBody>
      </p:sp>
      <p:sp>
        <p:nvSpPr>
          <p:cNvPr id="57" name="Rectangle: Rounded Corners 56">
            <a:extLst>
              <a:ext uri="{FF2B5EF4-FFF2-40B4-BE49-F238E27FC236}">
                <a16:creationId xmlns:a16="http://schemas.microsoft.com/office/drawing/2014/main" id="{391FCFB8-2D62-CEA1-A329-F121F7C0135A}"/>
              </a:ext>
            </a:extLst>
          </p:cNvPr>
          <p:cNvSpPr/>
          <p:nvPr/>
        </p:nvSpPr>
        <p:spPr>
          <a:xfrm>
            <a:off x="6376268" y="1763288"/>
            <a:ext cx="4914825" cy="1563461"/>
          </a:xfrm>
          <a:prstGeom prst="roundRect">
            <a:avLst/>
          </a:prstGeom>
          <a:solidFill>
            <a:srgbClr val="033665">
              <a:alpha val="40000"/>
            </a:srgbClr>
          </a:solidFill>
          <a:ln w="9525" cap="rnd" cmpd="sng" algn="ctr">
            <a:no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30" name="Group 29">
            <a:extLst>
              <a:ext uri="{FF2B5EF4-FFF2-40B4-BE49-F238E27FC236}">
                <a16:creationId xmlns:a16="http://schemas.microsoft.com/office/drawing/2014/main" id="{CD8CDE9D-0D01-E6CC-8C5C-DA7AF6DB5BB9}"/>
              </a:ext>
            </a:extLst>
          </p:cNvPr>
          <p:cNvGrpSpPr/>
          <p:nvPr/>
        </p:nvGrpSpPr>
        <p:grpSpPr>
          <a:xfrm>
            <a:off x="6628994" y="1909966"/>
            <a:ext cx="1270108" cy="1270106"/>
            <a:chOff x="5460946" y="2620063"/>
            <a:chExt cx="1270108" cy="1270106"/>
          </a:xfrm>
        </p:grpSpPr>
        <p:grpSp>
          <p:nvGrpSpPr>
            <p:cNvPr id="3" name="Grupo 2">
              <a:extLst>
                <a:ext uri="{FF2B5EF4-FFF2-40B4-BE49-F238E27FC236}">
                  <a16:creationId xmlns:a16="http://schemas.microsoft.com/office/drawing/2014/main" id="{31729E68-C063-1AA7-6B61-2E4095205257}"/>
                </a:ext>
              </a:extLst>
            </p:cNvPr>
            <p:cNvGrpSpPr/>
            <p:nvPr/>
          </p:nvGrpSpPr>
          <p:grpSpPr>
            <a:xfrm>
              <a:off x="5460946" y="2620063"/>
              <a:ext cx="1270108" cy="1270106"/>
              <a:chOff x="7381792" y="-1803918"/>
              <a:chExt cx="1333008" cy="1333008"/>
            </a:xfrm>
          </p:grpSpPr>
          <p:sp>
            <p:nvSpPr>
              <p:cNvPr id="5" name="Oval 4">
                <a:extLst>
                  <a:ext uri="{FF2B5EF4-FFF2-40B4-BE49-F238E27FC236}">
                    <a16:creationId xmlns:a16="http://schemas.microsoft.com/office/drawing/2014/main" id="{8F54DDEC-D339-7507-A698-440F6A4D79D6}"/>
                  </a:ext>
                </a:extLst>
              </p:cNvPr>
              <p:cNvSpPr/>
              <p:nvPr/>
            </p:nvSpPr>
            <p:spPr>
              <a:xfrm>
                <a:off x="7381792" y="-1803918"/>
                <a:ext cx="1333008" cy="1333008"/>
              </a:xfrm>
              <a:prstGeom prst="ellipse">
                <a:avLst/>
              </a:prstGeom>
              <a:solidFill>
                <a:schemeClr val="bg1">
                  <a:lumMod val="95000"/>
                </a:schemeClr>
              </a:solidFill>
              <a:ln w="3175" cap="flat" cmpd="sng" algn="ctr">
                <a:noFill/>
                <a:prstDash val="solid"/>
              </a:ln>
              <a:effectLst>
                <a:outerShdw blurRad="38100" dist="25400" dir="16200000" rotWithShape="0">
                  <a:prstClr val="black">
                    <a:alpha val="30000"/>
                  </a:prstClr>
                </a:outerShdw>
              </a:effectLst>
            </p:spPr>
            <p:txBody>
              <a:bodyPr lIns="71839" tIns="71839" rIns="71839" bIns="71839"/>
              <a:lstStyle/>
              <a:p>
                <a:pPr algn="ctr" defTabSz="912345" eaLnBrk="0" hangingPunct="0">
                  <a:spcBef>
                    <a:spcPts val="1800"/>
                  </a:spcBef>
                  <a:buClr>
                    <a:srgbClr val="415A9C"/>
                  </a:buClr>
                </a:pPr>
                <a:endParaRPr lang="en-US" sz="1600" kern="0">
                  <a:solidFill>
                    <a:schemeClr val="tx2"/>
                  </a:solidFill>
                  <a:latin typeface="Calibri" panose="020F0502020204030204" pitchFamily="34" charset="0"/>
                  <a:cs typeface="Calibri" panose="020F0502020204030204" pitchFamily="34" charset="0"/>
                </a:endParaRPr>
              </a:p>
            </p:txBody>
          </p:sp>
          <p:sp>
            <p:nvSpPr>
              <p:cNvPr id="6" name="Oval 5">
                <a:extLst>
                  <a:ext uri="{FF2B5EF4-FFF2-40B4-BE49-F238E27FC236}">
                    <a16:creationId xmlns:a16="http://schemas.microsoft.com/office/drawing/2014/main" id="{E1463936-F50A-B457-EC05-D3935B4825B2}"/>
                  </a:ext>
                </a:extLst>
              </p:cNvPr>
              <p:cNvSpPr/>
              <p:nvPr/>
            </p:nvSpPr>
            <p:spPr>
              <a:xfrm>
                <a:off x="7472839" y="-1712870"/>
                <a:ext cx="1150913" cy="1150913"/>
              </a:xfrm>
              <a:prstGeom prst="ellipse">
                <a:avLst/>
              </a:prstGeom>
              <a:solidFill>
                <a:srgbClr val="FFFFFF"/>
              </a:solidFill>
              <a:ln w="3175" cap="flat" cmpd="sng" algn="ctr">
                <a:solidFill>
                  <a:srgbClr val="FFFFFF">
                    <a:lumMod val="85000"/>
                  </a:srgbClr>
                </a:solidFill>
                <a:prstDash val="solid"/>
              </a:ln>
              <a:effectLst/>
            </p:spPr>
            <p:txBody>
              <a:bodyPr lIns="71839" tIns="71839" rIns="71839" bIns="71839" anchor="ctr"/>
              <a:lstStyle/>
              <a:p>
                <a:pPr algn="ctr" defTabSz="912345" eaLnBrk="0" hangingPunct="0">
                  <a:spcBef>
                    <a:spcPts val="1800"/>
                  </a:spcBef>
                  <a:buClr>
                    <a:srgbClr val="415A9C"/>
                  </a:buClr>
                </a:pPr>
                <a:endParaRPr lang="en-US" sz="2400" b="1" kern="0">
                  <a:solidFill>
                    <a:srgbClr val="002E62"/>
                  </a:solidFill>
                  <a:latin typeface="Calibri" panose="020F0502020204030204" pitchFamily="34" charset="0"/>
                  <a:cs typeface="Calibri" panose="020F0502020204030204" pitchFamily="34" charset="0"/>
                </a:endParaRPr>
              </a:p>
            </p:txBody>
          </p:sp>
        </p:grpSp>
        <p:pic>
          <p:nvPicPr>
            <p:cNvPr id="17" name="Gráfico 16" descr="Círculos con flechas contorno">
              <a:extLst>
                <a:ext uri="{FF2B5EF4-FFF2-40B4-BE49-F238E27FC236}">
                  <a16:creationId xmlns:a16="http://schemas.microsoft.com/office/drawing/2014/main" id="{69F96955-4290-C7F2-EA5F-E012E0C3192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8800" y="2797916"/>
              <a:ext cx="914400" cy="914400"/>
            </a:xfrm>
            <a:prstGeom prst="rect">
              <a:avLst/>
            </a:prstGeom>
          </p:spPr>
        </p:pic>
      </p:grpSp>
      <p:sp>
        <p:nvSpPr>
          <p:cNvPr id="21" name="Título 1">
            <a:extLst>
              <a:ext uri="{FF2B5EF4-FFF2-40B4-BE49-F238E27FC236}">
                <a16:creationId xmlns:a16="http://schemas.microsoft.com/office/drawing/2014/main" id="{41C4C5E8-E965-2FE6-B25F-5F9A4F59D42B}"/>
              </a:ext>
            </a:extLst>
          </p:cNvPr>
          <p:cNvSpPr txBox="1">
            <a:spLocks/>
          </p:cNvSpPr>
          <p:nvPr/>
        </p:nvSpPr>
        <p:spPr>
          <a:xfrm>
            <a:off x="8298361" y="2166454"/>
            <a:ext cx="2847664" cy="757130"/>
          </a:xfrm>
          <a:prstGeom prst="rect">
            <a:avLst/>
          </a:prstGeom>
        </p:spPr>
        <p:txBody>
          <a:bodyPr vert="horz"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dirty="0">
                <a:solidFill>
                  <a:schemeClr val="bg1"/>
                </a:solidFill>
                <a:latin typeface="Calibri" panose="020F0502020204030204" pitchFamily="34" charset="0"/>
                <a:cs typeface="Calibri" panose="020F0502020204030204" pitchFamily="34" charset="0"/>
              </a:rPr>
              <a:t>Reflective of PPH diversity</a:t>
            </a:r>
          </a:p>
        </p:txBody>
      </p:sp>
    </p:spTree>
    <p:extLst>
      <p:ext uri="{BB962C8B-B14F-4D97-AF65-F5344CB8AC3E}">
        <p14:creationId xmlns:p14="http://schemas.microsoft.com/office/powerpoint/2010/main" val="3536292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6584F63-7CAA-BF17-A0B1-FFA55EC5AA2D}"/>
              </a:ext>
            </a:extLst>
          </p:cNvPr>
          <p:cNvSpPr>
            <a:spLocks noGrp="1"/>
          </p:cNvSpPr>
          <p:nvPr>
            <p:ph type="title"/>
          </p:nvPr>
        </p:nvSpPr>
        <p:spPr>
          <a:xfrm>
            <a:off x="630000" y="1908313"/>
            <a:ext cx="2478638" cy="2170201"/>
          </a:xfrm>
        </p:spPr>
        <p:txBody>
          <a:bodyPr/>
          <a:lstStyle/>
          <a:p>
            <a:r>
              <a:rPr lang="en-US" sz="4400" b="1" dirty="0"/>
              <a:t>The Roadmap</a:t>
            </a:r>
          </a:p>
        </p:txBody>
      </p:sp>
      <p:pic>
        <p:nvPicPr>
          <p:cNvPr id="7" name="Picture 6">
            <a:extLst>
              <a:ext uri="{FF2B5EF4-FFF2-40B4-BE49-F238E27FC236}">
                <a16:creationId xmlns:a16="http://schemas.microsoft.com/office/drawing/2014/main" id="{2C1DF9AD-28BC-4BB6-96C9-4452B8AF30E8}"/>
              </a:ext>
            </a:extLst>
          </p:cNvPr>
          <p:cNvPicPr>
            <a:picLocks noChangeAspect="1"/>
          </p:cNvPicPr>
          <p:nvPr/>
        </p:nvPicPr>
        <p:blipFill>
          <a:blip r:embed="rId2"/>
          <a:stretch>
            <a:fillRect/>
          </a:stretch>
        </p:blipFill>
        <p:spPr>
          <a:xfrm>
            <a:off x="6007864" y="759443"/>
            <a:ext cx="4170525" cy="5905762"/>
          </a:xfrm>
          <a:prstGeom prst="rect">
            <a:avLst/>
          </a:prstGeom>
        </p:spPr>
      </p:pic>
    </p:spTree>
    <p:extLst>
      <p:ext uri="{BB962C8B-B14F-4D97-AF65-F5344CB8AC3E}">
        <p14:creationId xmlns:p14="http://schemas.microsoft.com/office/powerpoint/2010/main" val="3327510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rapezoid 44">
            <a:extLst>
              <a:ext uri="{FF2B5EF4-FFF2-40B4-BE49-F238E27FC236}">
                <a16:creationId xmlns:a16="http://schemas.microsoft.com/office/drawing/2014/main" id="{44E94F6B-87AA-657B-0D5E-2AFC9D8A082E}"/>
              </a:ext>
            </a:extLst>
          </p:cNvPr>
          <p:cNvSpPr/>
          <p:nvPr/>
        </p:nvSpPr>
        <p:spPr>
          <a:xfrm flipV="1">
            <a:off x="9350826" y="2206054"/>
            <a:ext cx="2111829" cy="508580"/>
          </a:xfrm>
          <a:prstGeom prst="trapezoid">
            <a:avLst/>
          </a:prstGeom>
          <a:solidFill>
            <a:srgbClr val="D31B5D"/>
          </a:solid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5" name="Trapezoid 34">
            <a:extLst>
              <a:ext uri="{FF2B5EF4-FFF2-40B4-BE49-F238E27FC236}">
                <a16:creationId xmlns:a16="http://schemas.microsoft.com/office/drawing/2014/main" id="{65060CAD-0DD0-9E0F-E03E-BB519F96AA58}"/>
              </a:ext>
            </a:extLst>
          </p:cNvPr>
          <p:cNvSpPr/>
          <p:nvPr/>
        </p:nvSpPr>
        <p:spPr>
          <a:xfrm flipV="1">
            <a:off x="6379026" y="2216940"/>
            <a:ext cx="2111829" cy="508580"/>
          </a:xfrm>
          <a:prstGeom prst="trapezoid">
            <a:avLst/>
          </a:prstGeom>
          <a:solidFill>
            <a:srgbClr val="FE9904"/>
          </a:solid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5" name="Trapezoid 24">
            <a:extLst>
              <a:ext uri="{FF2B5EF4-FFF2-40B4-BE49-F238E27FC236}">
                <a16:creationId xmlns:a16="http://schemas.microsoft.com/office/drawing/2014/main" id="{FAB8BD02-D98E-8380-7DFE-894B43D2230B}"/>
              </a:ext>
            </a:extLst>
          </p:cNvPr>
          <p:cNvSpPr/>
          <p:nvPr/>
        </p:nvSpPr>
        <p:spPr>
          <a:xfrm flipV="1">
            <a:off x="3537855" y="2206055"/>
            <a:ext cx="2111829" cy="508580"/>
          </a:xfrm>
          <a:prstGeom prst="trapezoid">
            <a:avLst/>
          </a:prstGeom>
          <a:solidFill>
            <a:srgbClr val="FA6216"/>
          </a:solid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FEEE8"/>
              </a:solidFill>
              <a:effectLst/>
              <a:uLnTx/>
              <a:uFillTx/>
              <a:latin typeface="Arial"/>
              <a:ea typeface="+mn-ea"/>
              <a:cs typeface="+mn-cs"/>
            </a:endParaRPr>
          </a:p>
        </p:txBody>
      </p:sp>
      <p:sp>
        <p:nvSpPr>
          <p:cNvPr id="23" name="Trapezoid 22">
            <a:extLst>
              <a:ext uri="{FF2B5EF4-FFF2-40B4-BE49-F238E27FC236}">
                <a16:creationId xmlns:a16="http://schemas.microsoft.com/office/drawing/2014/main" id="{162D92CF-B987-34C3-4848-6B16D65D7375}"/>
              </a:ext>
            </a:extLst>
          </p:cNvPr>
          <p:cNvSpPr/>
          <p:nvPr/>
        </p:nvSpPr>
        <p:spPr>
          <a:xfrm flipV="1">
            <a:off x="849084" y="2216941"/>
            <a:ext cx="2111829" cy="508580"/>
          </a:xfrm>
          <a:prstGeom prst="trapezoid">
            <a:avLst/>
          </a:prstGeom>
          <a:solidFill>
            <a:srgbClr val="D31B5D"/>
          </a:solid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97" name="Isosceles Triangle 96">
            <a:extLst>
              <a:ext uri="{FF2B5EF4-FFF2-40B4-BE49-F238E27FC236}">
                <a16:creationId xmlns:a16="http://schemas.microsoft.com/office/drawing/2014/main" id="{574ED2B6-6083-4900-536C-21549A67E0F7}"/>
              </a:ext>
            </a:extLst>
          </p:cNvPr>
          <p:cNvSpPr/>
          <p:nvPr/>
        </p:nvSpPr>
        <p:spPr>
          <a:xfrm>
            <a:off x="133677" y="1184902"/>
            <a:ext cx="11587189" cy="914400"/>
          </a:xfrm>
          <a:prstGeom prst="triangle">
            <a:avLst/>
          </a:prstGeom>
          <a:solidFill>
            <a:srgbClr val="2E3558"/>
          </a:solid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6" name="Oval 5">
            <a:extLst>
              <a:ext uri="{FF2B5EF4-FFF2-40B4-BE49-F238E27FC236}">
                <a16:creationId xmlns:a16="http://schemas.microsoft.com/office/drawing/2014/main" id="{468DE3FD-7E18-DD31-B273-3AF479049DA0}"/>
              </a:ext>
            </a:extLst>
          </p:cNvPr>
          <p:cNvSpPr/>
          <p:nvPr/>
        </p:nvSpPr>
        <p:spPr>
          <a:xfrm>
            <a:off x="455282" y="1733869"/>
            <a:ext cx="800100" cy="800100"/>
          </a:xfrm>
          <a:prstGeom prst="ellipse">
            <a:avLst/>
          </a:prstGeom>
          <a:solidFill>
            <a:srgbClr val="D82E92">
              <a:lumMod val="20000"/>
              <a:lumOff val="80000"/>
            </a:srgbClr>
          </a:solidFill>
          <a:ln w="9525" cap="flat" cmpd="sng" algn="ctr">
            <a:solidFill>
              <a:srgbClr val="2E3558"/>
            </a:solidFill>
            <a:prstDash val="solid"/>
            <a:round/>
            <a:headEnd type="none" w="med" len="med"/>
            <a:tailEnd type="none" w="med" len="me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endParaRPr>
          </a:p>
        </p:txBody>
      </p:sp>
      <p:sp>
        <p:nvSpPr>
          <p:cNvPr id="8" name="Oval 7">
            <a:extLst>
              <a:ext uri="{FF2B5EF4-FFF2-40B4-BE49-F238E27FC236}">
                <a16:creationId xmlns:a16="http://schemas.microsoft.com/office/drawing/2014/main" id="{B46A394B-9EEA-2E91-3E34-867DACB3AEBB}"/>
              </a:ext>
            </a:extLst>
          </p:cNvPr>
          <p:cNvSpPr/>
          <p:nvPr/>
        </p:nvSpPr>
        <p:spPr>
          <a:xfrm>
            <a:off x="3154939" y="1733869"/>
            <a:ext cx="800100" cy="800100"/>
          </a:xfrm>
          <a:prstGeom prst="ellipse">
            <a:avLst/>
          </a:prstGeom>
          <a:solidFill>
            <a:srgbClr val="FF5100">
              <a:lumMod val="20000"/>
              <a:lumOff val="80000"/>
            </a:srgbClr>
          </a:solidFill>
          <a:ln w="9525" cap="flat" cmpd="sng" algn="ctr">
            <a:solidFill>
              <a:srgbClr val="2E3558"/>
            </a:solidFill>
            <a:prstDash val="solid"/>
            <a:round/>
            <a:headEnd type="none" w="med" len="med"/>
            <a:tailEnd type="none" w="med" len="me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endParaRPr>
          </a:p>
        </p:txBody>
      </p:sp>
      <p:sp>
        <p:nvSpPr>
          <p:cNvPr id="9" name="Oval 8">
            <a:extLst>
              <a:ext uri="{FF2B5EF4-FFF2-40B4-BE49-F238E27FC236}">
                <a16:creationId xmlns:a16="http://schemas.microsoft.com/office/drawing/2014/main" id="{3521FB37-E0C9-6F3C-F098-C95E3D4E249A}"/>
              </a:ext>
            </a:extLst>
          </p:cNvPr>
          <p:cNvSpPr/>
          <p:nvPr/>
        </p:nvSpPr>
        <p:spPr>
          <a:xfrm>
            <a:off x="5941681" y="1722982"/>
            <a:ext cx="800100" cy="800100"/>
          </a:xfrm>
          <a:prstGeom prst="ellipse">
            <a:avLst/>
          </a:prstGeom>
          <a:solidFill>
            <a:srgbClr val="FFD600">
              <a:lumMod val="20000"/>
              <a:lumOff val="80000"/>
            </a:srgbClr>
          </a:solidFill>
          <a:ln w="9525" cap="flat" cmpd="sng" algn="ctr">
            <a:solidFill>
              <a:srgbClr val="2E3558"/>
            </a:solidFill>
            <a:prstDash val="solid"/>
            <a:round/>
            <a:headEnd type="none" w="med" len="med"/>
            <a:tailEnd type="none" w="med" len="me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endParaRPr>
          </a:p>
        </p:txBody>
      </p:sp>
      <p:sp>
        <p:nvSpPr>
          <p:cNvPr id="10" name="Oval 9">
            <a:extLst>
              <a:ext uri="{FF2B5EF4-FFF2-40B4-BE49-F238E27FC236}">
                <a16:creationId xmlns:a16="http://schemas.microsoft.com/office/drawing/2014/main" id="{44E0B09B-94DC-72F8-B695-1944E6047467}"/>
              </a:ext>
            </a:extLst>
          </p:cNvPr>
          <p:cNvSpPr/>
          <p:nvPr/>
        </p:nvSpPr>
        <p:spPr>
          <a:xfrm>
            <a:off x="8939886" y="1711606"/>
            <a:ext cx="800100" cy="800100"/>
          </a:xfrm>
          <a:prstGeom prst="ellipse">
            <a:avLst/>
          </a:prstGeom>
          <a:solidFill>
            <a:srgbClr val="D31B5D">
              <a:lumMod val="20000"/>
              <a:lumOff val="80000"/>
            </a:srgbClr>
          </a:solidFill>
          <a:ln w="9525" cap="flat" cmpd="sng" algn="ctr">
            <a:solidFill>
              <a:srgbClr val="2E3558"/>
            </a:solidFill>
            <a:prstDash val="solid"/>
            <a:round/>
            <a:headEnd type="none" w="med" len="med"/>
            <a:tailEnd type="none" w="med" len="me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endParaRPr>
          </a:p>
        </p:txBody>
      </p:sp>
      <p:sp>
        <p:nvSpPr>
          <p:cNvPr id="2" name="Title 1">
            <a:extLst>
              <a:ext uri="{FF2B5EF4-FFF2-40B4-BE49-F238E27FC236}">
                <a16:creationId xmlns:a16="http://schemas.microsoft.com/office/drawing/2014/main" id="{32E8A612-75DC-536B-D0D1-D09133A2E697}"/>
              </a:ext>
            </a:extLst>
          </p:cNvPr>
          <p:cNvSpPr>
            <a:spLocks noGrp="1"/>
          </p:cNvSpPr>
          <p:nvPr>
            <p:ph type="title"/>
          </p:nvPr>
        </p:nvSpPr>
        <p:spPr>
          <a:xfrm>
            <a:off x="442913" y="561339"/>
            <a:ext cx="11082528" cy="332399"/>
          </a:xfrm>
        </p:spPr>
        <p:txBody>
          <a:bodyPr/>
          <a:lstStyle/>
          <a:p>
            <a:r>
              <a:rPr lang="en-GB" b="1" dirty="0"/>
              <a:t>How did we get here? Four strategic areas to catalyse action</a:t>
            </a:r>
          </a:p>
        </p:txBody>
      </p:sp>
      <p:sp>
        <p:nvSpPr>
          <p:cNvPr id="4" name="Rectangle 3">
            <a:extLst>
              <a:ext uri="{FF2B5EF4-FFF2-40B4-BE49-F238E27FC236}">
                <a16:creationId xmlns:a16="http://schemas.microsoft.com/office/drawing/2014/main" id="{E82114A0-4875-F1A8-FF3C-9231623E2E78}"/>
              </a:ext>
            </a:extLst>
          </p:cNvPr>
          <p:cNvSpPr/>
          <p:nvPr/>
        </p:nvSpPr>
        <p:spPr>
          <a:xfrm>
            <a:off x="931402" y="2845412"/>
            <a:ext cx="1893043" cy="2877711"/>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wrap="square" lIns="0" tIns="0" rIns="0" bIns="0" anchor="t">
            <a:spAutoFit/>
          </a:bodyPr>
          <a:lstStyle/>
          <a:p>
            <a:pPr marL="291465" marR="0" lvl="1" indent="-194310" algn="l" defTabSz="914400" rtl="0" eaLnBrk="1" fontAlgn="auto" latinLnBrk="0" hangingPunct="1">
              <a:lnSpc>
                <a:spcPct val="100000"/>
              </a:lnSpc>
              <a:spcBef>
                <a:spcPts val="0"/>
              </a:spcBef>
              <a:spcAft>
                <a:spcPts val="0"/>
              </a:spcAft>
              <a:buClr>
                <a:srgbClr val="002060"/>
              </a:buClr>
              <a:buSzTx/>
              <a:buFont typeface="Trebuchet MS" panose="020B0603020202020204" pitchFamily="34" charset="0"/>
              <a:buChar char="•"/>
              <a:tabLst/>
              <a:defRPr/>
            </a:pPr>
            <a:r>
              <a:rPr kumimoji="0" lang="en-GB" sz="1700" b="0" i="0" u="none" strike="noStrike" kern="1200" cap="none" spc="0" normalizeH="0" baseline="0" noProof="0" dirty="0">
                <a:ln>
                  <a:noFill/>
                </a:ln>
                <a:solidFill>
                  <a:srgbClr val="000000"/>
                </a:solidFill>
                <a:effectLst/>
                <a:uLnTx/>
                <a:uFillTx/>
                <a:ea typeface="Cambria"/>
              </a:rPr>
              <a:t>What are</a:t>
            </a:r>
            <a:r>
              <a:rPr kumimoji="0" lang="en-GB" sz="1700" b="0" i="0" u="none" strike="noStrike" kern="1200" cap="none" spc="0" normalizeH="0" baseline="0" noProof="0" dirty="0">
                <a:ln>
                  <a:noFill/>
                </a:ln>
                <a:solidFill>
                  <a:srgbClr val="000000"/>
                </a:solidFill>
                <a:effectLst/>
                <a:uLnTx/>
                <a:uFillTx/>
                <a:ea typeface="Cambria"/>
                <a:cs typeface="Calibri"/>
              </a:rPr>
              <a:t> the key </a:t>
            </a:r>
            <a:r>
              <a:rPr kumimoji="0" lang="en-GB" sz="1700" b="1" i="0" u="none" strike="noStrike" kern="1200" cap="none" spc="0" normalizeH="0" baseline="0" noProof="0" dirty="0">
                <a:ln>
                  <a:noFill/>
                </a:ln>
                <a:solidFill>
                  <a:srgbClr val="2E3558"/>
                </a:solidFill>
                <a:effectLst/>
                <a:uLnTx/>
                <a:uFillTx/>
                <a:ea typeface="Cambria"/>
                <a:cs typeface="Calibri"/>
              </a:rPr>
              <a:t>gaps in current knowledge </a:t>
            </a:r>
            <a:r>
              <a:rPr kumimoji="0" lang="en-GB" sz="1700" b="0" i="0" u="none" strike="noStrike" kern="1200" cap="none" spc="0" normalizeH="0" baseline="0" noProof="0" dirty="0">
                <a:ln>
                  <a:noFill/>
                </a:ln>
                <a:solidFill>
                  <a:srgbClr val="000000"/>
                </a:solidFill>
                <a:effectLst/>
                <a:uLnTx/>
                <a:uFillTx/>
                <a:ea typeface="Cambria"/>
                <a:cs typeface="Calibri"/>
              </a:rPr>
              <a:t>about preventing, detecting, and managing PPH?</a:t>
            </a:r>
          </a:p>
          <a:p>
            <a:pPr marL="291465" marR="0" lvl="1" indent="-194310" algn="l" defTabSz="914400" rtl="0" eaLnBrk="1" fontAlgn="auto" latinLnBrk="0" hangingPunct="1">
              <a:lnSpc>
                <a:spcPct val="100000"/>
              </a:lnSpc>
              <a:spcBef>
                <a:spcPts val="0"/>
              </a:spcBef>
              <a:spcAft>
                <a:spcPts val="0"/>
              </a:spcAft>
              <a:buClr>
                <a:srgbClr val="002060"/>
              </a:buClr>
              <a:buSzTx/>
              <a:buFont typeface="Trebuchet MS" panose="020B0603020202020204" pitchFamily="34" charset="0"/>
              <a:buChar char="•"/>
              <a:tabLst/>
              <a:defRPr/>
            </a:pPr>
            <a:endParaRPr kumimoji="0" lang="en-GB" sz="1700" b="0" i="0" u="none" strike="noStrike" kern="1200" cap="none" spc="0" normalizeH="0" baseline="0" noProof="0" dirty="0">
              <a:ln>
                <a:noFill/>
              </a:ln>
              <a:solidFill>
                <a:srgbClr val="000000"/>
              </a:solidFill>
              <a:effectLst/>
              <a:uLnTx/>
              <a:uFillTx/>
              <a:ea typeface="Cambria"/>
              <a:cs typeface="Calibri"/>
            </a:endParaRPr>
          </a:p>
          <a:p>
            <a:pPr marL="291465" marR="0" lvl="1" indent="-194310" algn="l" defTabSz="914400" rtl="0" eaLnBrk="1" fontAlgn="auto" latinLnBrk="0" hangingPunct="1">
              <a:lnSpc>
                <a:spcPct val="100000"/>
              </a:lnSpc>
              <a:spcBef>
                <a:spcPts val="0"/>
              </a:spcBef>
              <a:spcAft>
                <a:spcPts val="0"/>
              </a:spcAft>
              <a:buClr>
                <a:srgbClr val="002060"/>
              </a:buClr>
              <a:buSzTx/>
              <a:buFont typeface="Trebuchet MS" panose="020B0603020202020204" pitchFamily="34" charset="0"/>
              <a:buChar char="•"/>
              <a:tabLst/>
              <a:defRPr/>
            </a:pPr>
            <a:r>
              <a:rPr kumimoji="0" lang="en-GB" sz="1700" b="0" i="0" u="none" strike="noStrike" kern="1200" cap="none" spc="0" normalizeH="0" baseline="0" noProof="0" dirty="0">
                <a:ln>
                  <a:noFill/>
                </a:ln>
                <a:solidFill>
                  <a:srgbClr val="000000"/>
                </a:solidFill>
                <a:effectLst/>
                <a:uLnTx/>
                <a:uFillTx/>
                <a:ea typeface="Cambria"/>
                <a:cs typeface="Calibri"/>
              </a:rPr>
              <a:t>What kind of research could </a:t>
            </a:r>
            <a:r>
              <a:rPr kumimoji="0" lang="en-GB" sz="1700" b="1" i="0" u="none" strike="noStrike" kern="1200" cap="none" spc="0" normalizeH="0" baseline="0" noProof="0" dirty="0">
                <a:ln>
                  <a:noFill/>
                </a:ln>
                <a:solidFill>
                  <a:srgbClr val="2E3558"/>
                </a:solidFill>
                <a:effectLst/>
                <a:uLnTx/>
                <a:uFillTx/>
                <a:ea typeface="Cambria"/>
                <a:cs typeface="Calibri"/>
              </a:rPr>
              <a:t>catalyse innovation</a:t>
            </a:r>
            <a:r>
              <a:rPr kumimoji="0" lang="en-GB" sz="1700" b="0" i="0" u="none" strike="noStrike" kern="1200" cap="none" spc="0" normalizeH="0" baseline="0" noProof="0" dirty="0">
                <a:ln>
                  <a:noFill/>
                </a:ln>
                <a:solidFill>
                  <a:srgbClr val="000000"/>
                </a:solidFill>
                <a:effectLst/>
                <a:uLnTx/>
                <a:uFillTx/>
                <a:ea typeface="Cambria"/>
                <a:cs typeface="Calibri"/>
              </a:rPr>
              <a:t>?</a:t>
            </a:r>
          </a:p>
        </p:txBody>
      </p:sp>
      <p:sp>
        <p:nvSpPr>
          <p:cNvPr id="19" name="Trapezoid 18">
            <a:extLst>
              <a:ext uri="{FF2B5EF4-FFF2-40B4-BE49-F238E27FC236}">
                <a16:creationId xmlns:a16="http://schemas.microsoft.com/office/drawing/2014/main" id="{566B9D57-5C4F-5692-803B-FE6CF59DDFED}"/>
              </a:ext>
            </a:extLst>
          </p:cNvPr>
          <p:cNvSpPr/>
          <p:nvPr/>
        </p:nvSpPr>
        <p:spPr>
          <a:xfrm>
            <a:off x="849085" y="5749182"/>
            <a:ext cx="2111829" cy="508580"/>
          </a:xfrm>
          <a:prstGeom prst="trapezoid">
            <a:avLst/>
          </a:prstGeom>
          <a:solidFill>
            <a:srgbClr val="2E3558"/>
          </a:solid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02381950-1989-292C-5EBD-0D84E2CD0DAB}"/>
              </a:ext>
            </a:extLst>
          </p:cNvPr>
          <p:cNvSpPr txBox="1"/>
          <p:nvPr/>
        </p:nvSpPr>
        <p:spPr>
          <a:xfrm>
            <a:off x="1356359" y="2289830"/>
            <a:ext cx="1172116"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FFFFFF"/>
                </a:solidFill>
                <a:effectLst/>
                <a:uLnTx/>
                <a:uFillTx/>
                <a:latin typeface="Arial"/>
                <a:ea typeface="+mn-ea"/>
                <a:cs typeface="Calibri"/>
              </a:rPr>
              <a:t>Research</a:t>
            </a:r>
          </a:p>
        </p:txBody>
      </p:sp>
      <p:sp>
        <p:nvSpPr>
          <p:cNvPr id="33" name="Trapezoid 32">
            <a:extLst>
              <a:ext uri="{FF2B5EF4-FFF2-40B4-BE49-F238E27FC236}">
                <a16:creationId xmlns:a16="http://schemas.microsoft.com/office/drawing/2014/main" id="{99E05E02-5DBA-F291-D71B-136826EF5D84}"/>
              </a:ext>
            </a:extLst>
          </p:cNvPr>
          <p:cNvSpPr/>
          <p:nvPr/>
        </p:nvSpPr>
        <p:spPr>
          <a:xfrm>
            <a:off x="3537856" y="5738296"/>
            <a:ext cx="2111829" cy="508580"/>
          </a:xfrm>
          <a:prstGeom prst="trapezoid">
            <a:avLst/>
          </a:prstGeom>
          <a:solidFill>
            <a:srgbClr val="2E3558"/>
          </a:solid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EFEEE8"/>
              </a:solidFill>
              <a:effectLst/>
              <a:uLnTx/>
              <a:uFillTx/>
              <a:latin typeface="Arial"/>
              <a:ea typeface="+mn-ea"/>
              <a:cs typeface="+mn-cs"/>
            </a:endParaRPr>
          </a:p>
        </p:txBody>
      </p:sp>
      <p:sp>
        <p:nvSpPr>
          <p:cNvPr id="34" name="TextBox 33">
            <a:extLst>
              <a:ext uri="{FF2B5EF4-FFF2-40B4-BE49-F238E27FC236}">
                <a16:creationId xmlns:a16="http://schemas.microsoft.com/office/drawing/2014/main" id="{C2D8BAFC-872A-3F56-74D8-89D0461CA414}"/>
              </a:ext>
            </a:extLst>
          </p:cNvPr>
          <p:cNvSpPr txBox="1"/>
          <p:nvPr/>
        </p:nvSpPr>
        <p:spPr>
          <a:xfrm>
            <a:off x="3637963" y="2278943"/>
            <a:ext cx="2044149"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FFFFFF"/>
                </a:solidFill>
                <a:effectLst/>
                <a:uLnTx/>
                <a:uFillTx/>
                <a:latin typeface="Arial"/>
                <a:ea typeface="+mn-ea"/>
                <a:cs typeface="Calibri"/>
              </a:rPr>
              <a:t> Norms/Standards</a:t>
            </a:r>
          </a:p>
        </p:txBody>
      </p:sp>
      <p:sp>
        <p:nvSpPr>
          <p:cNvPr id="43" name="Trapezoid 42">
            <a:extLst>
              <a:ext uri="{FF2B5EF4-FFF2-40B4-BE49-F238E27FC236}">
                <a16:creationId xmlns:a16="http://schemas.microsoft.com/office/drawing/2014/main" id="{1311F06F-DE0B-FF14-EAAF-66C749F5A75C}"/>
              </a:ext>
            </a:extLst>
          </p:cNvPr>
          <p:cNvSpPr/>
          <p:nvPr/>
        </p:nvSpPr>
        <p:spPr>
          <a:xfrm>
            <a:off x="6379027" y="5760066"/>
            <a:ext cx="2111829" cy="486810"/>
          </a:xfrm>
          <a:prstGeom prst="trapezoid">
            <a:avLst/>
          </a:prstGeom>
          <a:solidFill>
            <a:srgbClr val="2E3558"/>
          </a:solid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44" name="TextBox 43">
            <a:extLst>
              <a:ext uri="{FF2B5EF4-FFF2-40B4-BE49-F238E27FC236}">
                <a16:creationId xmlns:a16="http://schemas.microsoft.com/office/drawing/2014/main" id="{F9816A51-E092-FA32-0816-E819D97EAC2C}"/>
              </a:ext>
            </a:extLst>
          </p:cNvPr>
          <p:cNvSpPr txBox="1"/>
          <p:nvPr/>
        </p:nvSpPr>
        <p:spPr>
          <a:xfrm>
            <a:off x="6635931" y="2300715"/>
            <a:ext cx="1762021"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FFFFFF"/>
                </a:solidFill>
                <a:effectLst/>
                <a:uLnTx/>
                <a:uFillTx/>
                <a:latin typeface="Arial"/>
                <a:ea typeface="+mn-ea"/>
                <a:cs typeface="Calibri"/>
              </a:rPr>
              <a:t>Implementation</a:t>
            </a:r>
            <a:endParaRPr kumimoji="0" lang="en-US" sz="1800" i="0" u="none" strike="noStrike" kern="1200" cap="none" spc="0" normalizeH="0" baseline="0" noProof="0" dirty="0">
              <a:ln>
                <a:noFill/>
              </a:ln>
              <a:solidFill>
                <a:srgbClr val="FFFFFF"/>
              </a:solidFill>
              <a:effectLst/>
              <a:uLnTx/>
              <a:uFillTx/>
              <a:latin typeface="Arial"/>
              <a:ea typeface="+mn-ea"/>
            </a:endParaRPr>
          </a:p>
        </p:txBody>
      </p:sp>
      <p:sp>
        <p:nvSpPr>
          <p:cNvPr id="52" name="AutoShape 50">
            <a:extLst>
              <a:ext uri="{FF2B5EF4-FFF2-40B4-BE49-F238E27FC236}">
                <a16:creationId xmlns:a16="http://schemas.microsoft.com/office/drawing/2014/main" id="{256747B6-93DB-3DDC-D77E-B8271F828704}"/>
              </a:ext>
            </a:extLst>
          </p:cNvPr>
          <p:cNvSpPr>
            <a:spLocks noChangeAspect="1" noChangeArrowheads="1" noTextEdit="1"/>
          </p:cNvSpPr>
          <p:nvPr/>
        </p:nvSpPr>
        <p:spPr bwMode="auto">
          <a:xfrm>
            <a:off x="9056793" y="1811584"/>
            <a:ext cx="600570" cy="60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Trapezoid 52">
            <a:extLst>
              <a:ext uri="{FF2B5EF4-FFF2-40B4-BE49-F238E27FC236}">
                <a16:creationId xmlns:a16="http://schemas.microsoft.com/office/drawing/2014/main" id="{11BE1248-34C1-9156-292C-71937FD86D72}"/>
              </a:ext>
            </a:extLst>
          </p:cNvPr>
          <p:cNvSpPr/>
          <p:nvPr/>
        </p:nvSpPr>
        <p:spPr>
          <a:xfrm>
            <a:off x="9350827" y="5738295"/>
            <a:ext cx="2111829" cy="508580"/>
          </a:xfrm>
          <a:prstGeom prst="trapezoid">
            <a:avLst/>
          </a:prstGeom>
          <a:solidFill>
            <a:srgbClr val="2E3558"/>
          </a:solid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id="{7831C8D5-72E5-AC24-9211-204ACC718ADA}"/>
              </a:ext>
            </a:extLst>
          </p:cNvPr>
          <p:cNvSpPr txBox="1"/>
          <p:nvPr/>
        </p:nvSpPr>
        <p:spPr>
          <a:xfrm>
            <a:off x="9868987" y="2278943"/>
            <a:ext cx="1184940"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a:ln>
                  <a:noFill/>
                </a:ln>
                <a:solidFill>
                  <a:srgbClr val="FFFFFF"/>
                </a:solidFill>
                <a:effectLst/>
                <a:uLnTx/>
                <a:uFillTx/>
                <a:latin typeface="Arial"/>
                <a:ea typeface="+mn-ea"/>
                <a:cs typeface="Calibri"/>
              </a:rPr>
              <a:t>Advocacy</a:t>
            </a:r>
            <a:endParaRPr kumimoji="0" lang="en-US" sz="1800" i="0" u="none" strike="noStrike" kern="1200" cap="none" spc="0" normalizeH="0" baseline="0" noProof="0">
              <a:ln>
                <a:noFill/>
              </a:ln>
              <a:solidFill>
                <a:srgbClr val="FFFFFF"/>
              </a:solidFill>
              <a:effectLst/>
              <a:uLnTx/>
              <a:uFillTx/>
              <a:latin typeface="Arial"/>
              <a:ea typeface="+mn-ea"/>
            </a:endParaRPr>
          </a:p>
        </p:txBody>
      </p:sp>
      <p:grpSp>
        <p:nvGrpSpPr>
          <p:cNvPr id="62" name="bcgIcons_Market research ">
            <a:extLst>
              <a:ext uri="{FF2B5EF4-FFF2-40B4-BE49-F238E27FC236}">
                <a16:creationId xmlns:a16="http://schemas.microsoft.com/office/drawing/2014/main" id="{6E3E2E3C-E0AD-EE8A-BD78-A21EE8E3C06A}"/>
              </a:ext>
            </a:extLst>
          </p:cNvPr>
          <p:cNvGrpSpPr>
            <a:grpSpLocks noChangeAspect="1"/>
          </p:cNvGrpSpPr>
          <p:nvPr/>
        </p:nvGrpSpPr>
        <p:grpSpPr>
          <a:xfrm>
            <a:off x="539491" y="1830530"/>
            <a:ext cx="603278" cy="603278"/>
            <a:chOff x="5273675" y="2606675"/>
            <a:chExt cx="1644650" cy="1644650"/>
          </a:xfrm>
        </p:grpSpPr>
        <p:sp>
          <p:nvSpPr>
            <p:cNvPr id="58" name="AutoShape 40">
              <a:extLst>
                <a:ext uri="{FF2B5EF4-FFF2-40B4-BE49-F238E27FC236}">
                  <a16:creationId xmlns:a16="http://schemas.microsoft.com/office/drawing/2014/main" id="{B625B840-AA35-4BC5-BBD0-00A850A872A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59" name="Group 58">
              <a:extLst>
                <a:ext uri="{FF2B5EF4-FFF2-40B4-BE49-F238E27FC236}">
                  <a16:creationId xmlns:a16="http://schemas.microsoft.com/office/drawing/2014/main" id="{AF7E00FE-8680-7C5C-AAEF-FEE8A1A006CA}"/>
                </a:ext>
              </a:extLst>
            </p:cNvPr>
            <p:cNvGrpSpPr/>
            <p:nvPr/>
          </p:nvGrpSpPr>
          <p:grpSpPr>
            <a:xfrm>
              <a:off x="5486400" y="2776538"/>
              <a:ext cx="1183985" cy="1257300"/>
              <a:chOff x="5486400" y="2776538"/>
              <a:chExt cx="1183985" cy="1257300"/>
            </a:xfrm>
          </p:grpSpPr>
          <p:sp>
            <p:nvSpPr>
              <p:cNvPr id="60" name="Freeform 42">
                <a:extLst>
                  <a:ext uri="{FF2B5EF4-FFF2-40B4-BE49-F238E27FC236}">
                    <a16:creationId xmlns:a16="http://schemas.microsoft.com/office/drawing/2014/main" id="{1800F1B1-8C3F-68FF-A289-0F9D3F249AD7}"/>
                  </a:ext>
                </a:extLst>
              </p:cNvPr>
              <p:cNvSpPr>
                <a:spLocks/>
              </p:cNvSpPr>
              <p:nvPr/>
            </p:nvSpPr>
            <p:spPr bwMode="auto">
              <a:xfrm>
                <a:off x="5607050" y="2776538"/>
                <a:ext cx="779463" cy="873125"/>
              </a:xfrm>
              <a:custGeom>
                <a:avLst/>
                <a:gdLst>
                  <a:gd name="T0" fmla="*/ 1090 w 1090"/>
                  <a:gd name="T1" fmla="*/ 674 h 1222"/>
                  <a:gd name="T2" fmla="*/ 1014 w 1090"/>
                  <a:gd name="T3" fmla="*/ 723 h 1222"/>
                  <a:gd name="T4" fmla="*/ 889 w 1090"/>
                  <a:gd name="T5" fmla="*/ 941 h 1222"/>
                  <a:gd name="T6" fmla="*/ 845 w 1090"/>
                  <a:gd name="T7" fmla="*/ 980 h 1222"/>
                  <a:gd name="T8" fmla="*/ 802 w 1090"/>
                  <a:gd name="T9" fmla="*/ 1009 h 1222"/>
                  <a:gd name="T10" fmla="*/ 188 w 1090"/>
                  <a:gd name="T11" fmla="*/ 892 h 1222"/>
                  <a:gd name="T12" fmla="*/ 100 w 1090"/>
                  <a:gd name="T13" fmla="*/ 518 h 1222"/>
                  <a:gd name="T14" fmla="*/ 113 w 1090"/>
                  <a:gd name="T15" fmla="*/ 466 h 1222"/>
                  <a:gd name="T16" fmla="*/ 276 w 1090"/>
                  <a:gd name="T17" fmla="*/ 233 h 1222"/>
                  <a:gd name="T18" fmla="*/ 933 w 1090"/>
                  <a:gd name="T19" fmla="*/ 320 h 1222"/>
                  <a:gd name="T20" fmla="*/ 1027 w 1090"/>
                  <a:gd name="T21" fmla="*/ 559 h 1222"/>
                  <a:gd name="T22" fmla="*/ 1088 w 1090"/>
                  <a:gd name="T23" fmla="*/ 519 h 1222"/>
                  <a:gd name="T24" fmla="*/ 986 w 1090"/>
                  <a:gd name="T25" fmla="*/ 280 h 1222"/>
                  <a:gd name="T26" fmla="*/ 235 w 1090"/>
                  <a:gd name="T27" fmla="*/ 179 h 1222"/>
                  <a:gd name="T28" fmla="*/ 63 w 1090"/>
                  <a:gd name="T29" fmla="*/ 407 h 1222"/>
                  <a:gd name="T30" fmla="*/ 46 w 1090"/>
                  <a:gd name="T31" fmla="*/ 455 h 1222"/>
                  <a:gd name="T32" fmla="*/ 135 w 1090"/>
                  <a:gd name="T33" fmla="*/ 933 h 1222"/>
                  <a:gd name="T34" fmla="*/ 808 w 1090"/>
                  <a:gd name="T35" fmla="*/ 1082 h 1222"/>
                  <a:gd name="T36" fmla="*/ 916 w 1090"/>
                  <a:gd name="T37" fmla="*/ 1222 h 1222"/>
                  <a:gd name="T38" fmla="*/ 1066 w 1090"/>
                  <a:gd name="T39" fmla="*/ 1107 h 1222"/>
                  <a:gd name="T40" fmla="*/ 958 w 1090"/>
                  <a:gd name="T41" fmla="*/ 965 h 1222"/>
                  <a:gd name="T42" fmla="*/ 1090 w 1090"/>
                  <a:gd name="T43" fmla="*/ 674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0" h="1222">
                    <a:moveTo>
                      <a:pt x="1090" y="674"/>
                    </a:moveTo>
                    <a:cubicBezTo>
                      <a:pt x="1014" y="723"/>
                      <a:pt x="1014" y="723"/>
                      <a:pt x="1014" y="723"/>
                    </a:cubicBezTo>
                    <a:cubicBezTo>
                      <a:pt x="993" y="804"/>
                      <a:pt x="951" y="880"/>
                      <a:pt x="889" y="941"/>
                    </a:cubicBezTo>
                    <a:cubicBezTo>
                      <a:pt x="875" y="955"/>
                      <a:pt x="860" y="968"/>
                      <a:pt x="845" y="980"/>
                    </a:cubicBezTo>
                    <a:cubicBezTo>
                      <a:pt x="831" y="990"/>
                      <a:pt x="817" y="1000"/>
                      <a:pt x="802" y="1009"/>
                    </a:cubicBezTo>
                    <a:cubicBezTo>
                      <a:pt x="601" y="1131"/>
                      <a:pt x="334" y="1084"/>
                      <a:pt x="188" y="892"/>
                    </a:cubicBezTo>
                    <a:cubicBezTo>
                      <a:pt x="103" y="782"/>
                      <a:pt x="76" y="645"/>
                      <a:pt x="100" y="518"/>
                    </a:cubicBezTo>
                    <a:cubicBezTo>
                      <a:pt x="103" y="500"/>
                      <a:pt x="107" y="483"/>
                      <a:pt x="113" y="466"/>
                    </a:cubicBezTo>
                    <a:cubicBezTo>
                      <a:pt x="141" y="376"/>
                      <a:pt x="196" y="294"/>
                      <a:pt x="276" y="233"/>
                    </a:cubicBezTo>
                    <a:cubicBezTo>
                      <a:pt x="480" y="75"/>
                      <a:pt x="775" y="114"/>
                      <a:pt x="933" y="320"/>
                    </a:cubicBezTo>
                    <a:cubicBezTo>
                      <a:pt x="987" y="392"/>
                      <a:pt x="1018" y="475"/>
                      <a:pt x="1027" y="559"/>
                    </a:cubicBezTo>
                    <a:cubicBezTo>
                      <a:pt x="1088" y="519"/>
                      <a:pt x="1088" y="519"/>
                      <a:pt x="1088" y="519"/>
                    </a:cubicBezTo>
                    <a:cubicBezTo>
                      <a:pt x="1075" y="435"/>
                      <a:pt x="1041" y="352"/>
                      <a:pt x="986" y="280"/>
                    </a:cubicBezTo>
                    <a:cubicBezTo>
                      <a:pt x="805" y="45"/>
                      <a:pt x="470" y="0"/>
                      <a:pt x="235" y="179"/>
                    </a:cubicBezTo>
                    <a:cubicBezTo>
                      <a:pt x="155" y="241"/>
                      <a:pt x="98" y="320"/>
                      <a:pt x="63" y="407"/>
                    </a:cubicBezTo>
                    <a:cubicBezTo>
                      <a:pt x="57" y="423"/>
                      <a:pt x="51" y="439"/>
                      <a:pt x="46" y="455"/>
                    </a:cubicBezTo>
                    <a:cubicBezTo>
                      <a:pt x="0" y="614"/>
                      <a:pt x="27" y="791"/>
                      <a:pt x="135" y="933"/>
                    </a:cubicBezTo>
                    <a:cubicBezTo>
                      <a:pt x="296" y="1143"/>
                      <a:pt x="583" y="1201"/>
                      <a:pt x="808" y="1082"/>
                    </a:cubicBezTo>
                    <a:cubicBezTo>
                      <a:pt x="808" y="1082"/>
                      <a:pt x="809" y="1082"/>
                      <a:pt x="916" y="1222"/>
                    </a:cubicBezTo>
                    <a:cubicBezTo>
                      <a:pt x="1066" y="1107"/>
                      <a:pt x="1066" y="1107"/>
                      <a:pt x="1066" y="1107"/>
                    </a:cubicBezTo>
                    <a:cubicBezTo>
                      <a:pt x="1059" y="1098"/>
                      <a:pt x="1036" y="1068"/>
                      <a:pt x="958" y="965"/>
                    </a:cubicBezTo>
                    <a:cubicBezTo>
                      <a:pt x="1032" y="883"/>
                      <a:pt x="1077" y="780"/>
                      <a:pt x="1090" y="674"/>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6">
                <a:extLst>
                  <a:ext uri="{FF2B5EF4-FFF2-40B4-BE49-F238E27FC236}">
                    <a16:creationId xmlns:a16="http://schemas.microsoft.com/office/drawing/2014/main" id="{4FE8C75F-A091-B16A-2808-1F2704C476E5}"/>
                  </a:ext>
                </a:extLst>
              </p:cNvPr>
              <p:cNvSpPr>
                <a:spLocks/>
              </p:cNvSpPr>
              <p:nvPr/>
            </p:nvSpPr>
            <p:spPr bwMode="auto">
              <a:xfrm>
                <a:off x="5486400" y="2905125"/>
                <a:ext cx="1183985" cy="1128713"/>
              </a:xfrm>
              <a:custGeom>
                <a:avLst/>
                <a:gdLst>
                  <a:gd name="connsiteX0" fmla="*/ 916123 w 1183985"/>
                  <a:gd name="connsiteY0" fmla="*/ 712788 h 1128713"/>
                  <a:gd name="connsiteX1" fmla="*/ 819151 w 1183985"/>
                  <a:gd name="connsiteY1" fmla="*/ 786369 h 1128713"/>
                  <a:gd name="connsiteX2" fmla="*/ 1053025 w 1183985"/>
                  <a:gd name="connsiteY2" fmla="*/ 1094265 h 1128713"/>
                  <a:gd name="connsiteX3" fmla="*/ 1072990 w 1183985"/>
                  <a:gd name="connsiteY3" fmla="*/ 1097122 h 1128713"/>
                  <a:gd name="connsiteX4" fmla="*/ 1115772 w 1183985"/>
                  <a:gd name="connsiteY4" fmla="*/ 1076405 h 1128713"/>
                  <a:gd name="connsiteX5" fmla="*/ 1149997 w 1183985"/>
                  <a:gd name="connsiteY5" fmla="*/ 1019970 h 1128713"/>
                  <a:gd name="connsiteX6" fmla="*/ 916123 w 1183985"/>
                  <a:gd name="connsiteY6" fmla="*/ 712788 h 1128713"/>
                  <a:gd name="connsiteX7" fmla="*/ 917497 w 1183985"/>
                  <a:gd name="connsiteY7" fmla="*/ 674688 h 1128713"/>
                  <a:gd name="connsiteX8" fmla="*/ 921783 w 1183985"/>
                  <a:gd name="connsiteY8" fmla="*/ 674688 h 1128713"/>
                  <a:gd name="connsiteX9" fmla="*/ 932499 w 1183985"/>
                  <a:gd name="connsiteY9" fmla="*/ 680399 h 1128713"/>
                  <a:gd name="connsiteX10" fmla="*/ 1176101 w 1183985"/>
                  <a:gd name="connsiteY10" fmla="*/ 1000929 h 1128713"/>
                  <a:gd name="connsiteX11" fmla="*/ 1136096 w 1183985"/>
                  <a:gd name="connsiteY11" fmla="*/ 1100872 h 1128713"/>
                  <a:gd name="connsiteX12" fmla="*/ 1078946 w 1183985"/>
                  <a:gd name="connsiteY12" fmla="*/ 1127285 h 1128713"/>
                  <a:gd name="connsiteX13" fmla="*/ 1065373 w 1183985"/>
                  <a:gd name="connsiteY13" fmla="*/ 1128713 h 1128713"/>
                  <a:gd name="connsiteX14" fmla="*/ 1028225 w 1183985"/>
                  <a:gd name="connsiteY14" fmla="*/ 1112294 h 1128713"/>
                  <a:gd name="connsiteX15" fmla="*/ 785338 w 1183985"/>
                  <a:gd name="connsiteY15" fmla="*/ 793192 h 1128713"/>
                  <a:gd name="connsiteX16" fmla="*/ 782480 w 1183985"/>
                  <a:gd name="connsiteY16" fmla="*/ 779628 h 1128713"/>
                  <a:gd name="connsiteX17" fmla="*/ 788195 w 1183985"/>
                  <a:gd name="connsiteY17" fmla="*/ 771061 h 1128713"/>
                  <a:gd name="connsiteX18" fmla="*/ 910353 w 1183985"/>
                  <a:gd name="connsiteY18" fmla="*/ 677544 h 1128713"/>
                  <a:gd name="connsiteX19" fmla="*/ 917497 w 1183985"/>
                  <a:gd name="connsiteY19" fmla="*/ 674688 h 1128713"/>
                  <a:gd name="connsiteX20" fmla="*/ 719495 w 1183985"/>
                  <a:gd name="connsiteY20" fmla="*/ 369888 h 1128713"/>
                  <a:gd name="connsiteX21" fmla="*/ 708054 w 1183985"/>
                  <a:gd name="connsiteY21" fmla="*/ 371334 h 1128713"/>
                  <a:gd name="connsiteX22" fmla="*/ 683741 w 1183985"/>
                  <a:gd name="connsiteY22" fmla="*/ 391575 h 1128713"/>
                  <a:gd name="connsiteX23" fmla="*/ 679450 w 1183985"/>
                  <a:gd name="connsiteY23" fmla="*/ 410370 h 1128713"/>
                  <a:gd name="connsiteX24" fmla="*/ 719495 w 1183985"/>
                  <a:gd name="connsiteY24" fmla="*/ 450851 h 1128713"/>
                  <a:gd name="connsiteX25" fmla="*/ 758825 w 1183985"/>
                  <a:gd name="connsiteY25" fmla="*/ 410370 h 1128713"/>
                  <a:gd name="connsiteX26" fmla="*/ 758825 w 1183985"/>
                  <a:gd name="connsiteY26" fmla="*/ 403864 h 1128713"/>
                  <a:gd name="connsiteX27" fmla="*/ 741663 w 1183985"/>
                  <a:gd name="connsiteY27" fmla="*/ 376394 h 1128713"/>
                  <a:gd name="connsiteX28" fmla="*/ 719495 w 1183985"/>
                  <a:gd name="connsiteY28" fmla="*/ 369888 h 1128713"/>
                  <a:gd name="connsiteX29" fmla="*/ 343258 w 1183985"/>
                  <a:gd name="connsiteY29" fmla="*/ 350838 h 1128713"/>
                  <a:gd name="connsiteX30" fmla="*/ 328956 w 1183985"/>
                  <a:gd name="connsiteY30" fmla="*/ 353730 h 1128713"/>
                  <a:gd name="connsiteX31" fmla="*/ 306074 w 1183985"/>
                  <a:gd name="connsiteY31" fmla="*/ 375416 h 1128713"/>
                  <a:gd name="connsiteX32" fmla="*/ 303213 w 1183985"/>
                  <a:gd name="connsiteY32" fmla="*/ 391320 h 1128713"/>
                  <a:gd name="connsiteX33" fmla="*/ 343258 w 1183985"/>
                  <a:gd name="connsiteY33" fmla="*/ 431801 h 1128713"/>
                  <a:gd name="connsiteX34" fmla="*/ 382588 w 1183985"/>
                  <a:gd name="connsiteY34" fmla="*/ 391320 h 1128713"/>
                  <a:gd name="connsiteX35" fmla="*/ 381158 w 1183985"/>
                  <a:gd name="connsiteY35" fmla="*/ 379031 h 1128713"/>
                  <a:gd name="connsiteX36" fmla="*/ 360420 w 1183985"/>
                  <a:gd name="connsiteY36" fmla="*/ 355175 h 1128713"/>
                  <a:gd name="connsiteX37" fmla="*/ 343258 w 1183985"/>
                  <a:gd name="connsiteY37" fmla="*/ 350838 h 1128713"/>
                  <a:gd name="connsiteX38" fmla="*/ 1029133 w 1183985"/>
                  <a:gd name="connsiteY38" fmla="*/ 176213 h 1128713"/>
                  <a:gd name="connsiteX39" fmla="*/ 993775 w 1183985"/>
                  <a:gd name="connsiteY39" fmla="*/ 211138 h 1128713"/>
                  <a:gd name="connsiteX40" fmla="*/ 993775 w 1183985"/>
                  <a:gd name="connsiteY40" fmla="*/ 214702 h 1128713"/>
                  <a:gd name="connsiteX41" fmla="*/ 1011094 w 1183985"/>
                  <a:gd name="connsiteY41" fmla="*/ 241074 h 1128713"/>
                  <a:gd name="connsiteX42" fmla="*/ 1029133 w 1183985"/>
                  <a:gd name="connsiteY42" fmla="*/ 246063 h 1128713"/>
                  <a:gd name="connsiteX43" fmla="*/ 1065213 w 1183985"/>
                  <a:gd name="connsiteY43" fmla="*/ 211138 h 1128713"/>
                  <a:gd name="connsiteX44" fmla="*/ 1029133 w 1183985"/>
                  <a:gd name="connsiteY44" fmla="*/ 176213 h 1128713"/>
                  <a:gd name="connsiteX45" fmla="*/ 544870 w 1183985"/>
                  <a:gd name="connsiteY45" fmla="*/ 157163 h 1128713"/>
                  <a:gd name="connsiteX46" fmla="*/ 504825 w 1183985"/>
                  <a:gd name="connsiteY46" fmla="*/ 196851 h 1128713"/>
                  <a:gd name="connsiteX47" fmla="*/ 506255 w 1183985"/>
                  <a:gd name="connsiteY47" fmla="*/ 208190 h 1128713"/>
                  <a:gd name="connsiteX48" fmla="*/ 526993 w 1183985"/>
                  <a:gd name="connsiteY48" fmla="*/ 232286 h 1128713"/>
                  <a:gd name="connsiteX49" fmla="*/ 544870 w 1183985"/>
                  <a:gd name="connsiteY49" fmla="*/ 236538 h 1128713"/>
                  <a:gd name="connsiteX50" fmla="*/ 557742 w 1183985"/>
                  <a:gd name="connsiteY50" fmla="*/ 233703 h 1128713"/>
                  <a:gd name="connsiteX51" fmla="*/ 580625 w 1183985"/>
                  <a:gd name="connsiteY51" fmla="*/ 213151 h 1128713"/>
                  <a:gd name="connsiteX52" fmla="*/ 584200 w 1183985"/>
                  <a:gd name="connsiteY52" fmla="*/ 196851 h 1128713"/>
                  <a:gd name="connsiteX53" fmla="*/ 544870 w 1183985"/>
                  <a:gd name="connsiteY53" fmla="*/ 157163 h 1128713"/>
                  <a:gd name="connsiteX54" fmla="*/ 544702 w 1183985"/>
                  <a:gd name="connsiteY54" fmla="*/ 125413 h 1128713"/>
                  <a:gd name="connsiteX55" fmla="*/ 615431 w 1183985"/>
                  <a:gd name="connsiteY55" fmla="*/ 196676 h 1128713"/>
                  <a:gd name="connsiteX56" fmla="*/ 601857 w 1183985"/>
                  <a:gd name="connsiteY56" fmla="*/ 238721 h 1128713"/>
                  <a:gd name="connsiteX57" fmla="*/ 688304 w 1183985"/>
                  <a:gd name="connsiteY57" fmla="*/ 345614 h 1128713"/>
                  <a:gd name="connsiteX58" fmla="*/ 719739 w 1183985"/>
                  <a:gd name="connsiteY58" fmla="*/ 338488 h 1128713"/>
                  <a:gd name="connsiteX59" fmla="*/ 739029 w 1183985"/>
                  <a:gd name="connsiteY59" fmla="*/ 341339 h 1128713"/>
                  <a:gd name="connsiteX60" fmla="*/ 769750 w 1183985"/>
                  <a:gd name="connsiteY60" fmla="*/ 359154 h 1128713"/>
                  <a:gd name="connsiteX61" fmla="*/ 823333 w 1183985"/>
                  <a:gd name="connsiteY61" fmla="*/ 324236 h 1128713"/>
                  <a:gd name="connsiteX62" fmla="*/ 855483 w 1183985"/>
                  <a:gd name="connsiteY62" fmla="*/ 303569 h 1128713"/>
                  <a:gd name="connsiteX63" fmla="*/ 901921 w 1183985"/>
                  <a:gd name="connsiteY63" fmla="*/ 274352 h 1128713"/>
                  <a:gd name="connsiteX64" fmla="*/ 931928 w 1183985"/>
                  <a:gd name="connsiteY64" fmla="*/ 255111 h 1128713"/>
                  <a:gd name="connsiteX65" fmla="*/ 966935 w 1183985"/>
                  <a:gd name="connsiteY65" fmla="*/ 232307 h 1128713"/>
                  <a:gd name="connsiteX66" fmla="*/ 963363 w 1183985"/>
                  <a:gd name="connsiteY66" fmla="*/ 210928 h 1128713"/>
                  <a:gd name="connsiteX67" fmla="*/ 964792 w 1183985"/>
                  <a:gd name="connsiteY67" fmla="*/ 196676 h 1128713"/>
                  <a:gd name="connsiteX68" fmla="*/ 1029806 w 1183985"/>
                  <a:gd name="connsiteY68" fmla="*/ 144654 h 1128713"/>
                  <a:gd name="connsiteX69" fmla="*/ 1096963 w 1183985"/>
                  <a:gd name="connsiteY69" fmla="*/ 210928 h 1128713"/>
                  <a:gd name="connsiteX70" fmla="*/ 1029806 w 1183985"/>
                  <a:gd name="connsiteY70" fmla="*/ 277202 h 1128713"/>
                  <a:gd name="connsiteX71" fmla="*/ 1015517 w 1183985"/>
                  <a:gd name="connsiteY71" fmla="*/ 275777 h 1128713"/>
                  <a:gd name="connsiteX72" fmla="*/ 984082 w 1183985"/>
                  <a:gd name="connsiteY72" fmla="*/ 258674 h 1128713"/>
                  <a:gd name="connsiteX73" fmla="*/ 934071 w 1183985"/>
                  <a:gd name="connsiteY73" fmla="*/ 290742 h 1128713"/>
                  <a:gd name="connsiteX74" fmla="*/ 902636 w 1183985"/>
                  <a:gd name="connsiteY74" fmla="*/ 310696 h 1128713"/>
                  <a:gd name="connsiteX75" fmla="*/ 852625 w 1183985"/>
                  <a:gd name="connsiteY75" fmla="*/ 342764 h 1128713"/>
                  <a:gd name="connsiteX76" fmla="*/ 817617 w 1183985"/>
                  <a:gd name="connsiteY76" fmla="*/ 365568 h 1128713"/>
                  <a:gd name="connsiteX77" fmla="*/ 786182 w 1183985"/>
                  <a:gd name="connsiteY77" fmla="*/ 385521 h 1128713"/>
                  <a:gd name="connsiteX78" fmla="*/ 790469 w 1183985"/>
                  <a:gd name="connsiteY78" fmla="*/ 409751 h 1128713"/>
                  <a:gd name="connsiteX79" fmla="*/ 789754 w 1183985"/>
                  <a:gd name="connsiteY79" fmla="*/ 420440 h 1128713"/>
                  <a:gd name="connsiteX80" fmla="*/ 719739 w 1183985"/>
                  <a:gd name="connsiteY80" fmla="*/ 481013 h 1128713"/>
                  <a:gd name="connsiteX81" fmla="*/ 648295 w 1183985"/>
                  <a:gd name="connsiteY81" fmla="*/ 409751 h 1128713"/>
                  <a:gd name="connsiteX82" fmla="*/ 663298 w 1183985"/>
                  <a:gd name="connsiteY82" fmla="*/ 365568 h 1128713"/>
                  <a:gd name="connsiteX83" fmla="*/ 577566 w 1183985"/>
                  <a:gd name="connsiteY83" fmla="*/ 259387 h 1128713"/>
                  <a:gd name="connsiteX84" fmla="*/ 544702 w 1183985"/>
                  <a:gd name="connsiteY84" fmla="*/ 267938 h 1128713"/>
                  <a:gd name="connsiteX85" fmla="*/ 503978 w 1183985"/>
                  <a:gd name="connsiteY85" fmla="*/ 255111 h 1128713"/>
                  <a:gd name="connsiteX86" fmla="*/ 404671 w 1183985"/>
                  <a:gd name="connsiteY86" fmla="*/ 354878 h 1128713"/>
                  <a:gd name="connsiteX87" fmla="*/ 413245 w 1183985"/>
                  <a:gd name="connsiteY87" fmla="*/ 390510 h 1128713"/>
                  <a:gd name="connsiteX88" fmla="*/ 343230 w 1183985"/>
                  <a:gd name="connsiteY88" fmla="*/ 461772 h 1128713"/>
                  <a:gd name="connsiteX89" fmla="*/ 271786 w 1183985"/>
                  <a:gd name="connsiteY89" fmla="*/ 390510 h 1128713"/>
                  <a:gd name="connsiteX90" fmla="*/ 284646 w 1183985"/>
                  <a:gd name="connsiteY90" fmla="*/ 349890 h 1128713"/>
                  <a:gd name="connsiteX91" fmla="*/ 217488 w 1183985"/>
                  <a:gd name="connsiteY91" fmla="*/ 270789 h 1128713"/>
                  <a:gd name="connsiteX92" fmla="*/ 224633 w 1183985"/>
                  <a:gd name="connsiteY92" fmla="*/ 230169 h 1128713"/>
                  <a:gd name="connsiteX93" fmla="*/ 307508 w 1183985"/>
                  <a:gd name="connsiteY93" fmla="*/ 328511 h 1128713"/>
                  <a:gd name="connsiteX94" fmla="*/ 343230 w 1183985"/>
                  <a:gd name="connsiteY94" fmla="*/ 319247 h 1128713"/>
                  <a:gd name="connsiteX95" fmla="*/ 383238 w 1183985"/>
                  <a:gd name="connsiteY95" fmla="*/ 332074 h 1128713"/>
                  <a:gd name="connsiteX96" fmla="*/ 482545 w 1183985"/>
                  <a:gd name="connsiteY96" fmla="*/ 232307 h 1128713"/>
                  <a:gd name="connsiteX97" fmla="*/ 473258 w 1183985"/>
                  <a:gd name="connsiteY97" fmla="*/ 196676 h 1128713"/>
                  <a:gd name="connsiteX98" fmla="*/ 544702 w 1183985"/>
                  <a:gd name="connsiteY98" fmla="*/ 125413 h 1128713"/>
                  <a:gd name="connsiteX99" fmla="*/ 62351 w 1183985"/>
                  <a:gd name="connsiteY99" fmla="*/ 31750 h 1128713"/>
                  <a:gd name="connsiteX100" fmla="*/ 31750 w 1183985"/>
                  <a:gd name="connsiteY100" fmla="*/ 62003 h 1128713"/>
                  <a:gd name="connsiteX101" fmla="*/ 62351 w 1183985"/>
                  <a:gd name="connsiteY101" fmla="*/ 93663 h 1128713"/>
                  <a:gd name="connsiteX102" fmla="*/ 68044 w 1183985"/>
                  <a:gd name="connsiteY102" fmla="*/ 92960 h 1128713"/>
                  <a:gd name="connsiteX103" fmla="*/ 91528 w 1183985"/>
                  <a:gd name="connsiteY103" fmla="*/ 72556 h 1128713"/>
                  <a:gd name="connsiteX104" fmla="*/ 93663 w 1183985"/>
                  <a:gd name="connsiteY104" fmla="*/ 62003 h 1128713"/>
                  <a:gd name="connsiteX105" fmla="*/ 62351 w 1183985"/>
                  <a:gd name="connsiteY105" fmla="*/ 31750 h 1128713"/>
                  <a:gd name="connsiteX106" fmla="*/ 62151 w 1183985"/>
                  <a:gd name="connsiteY106" fmla="*/ 0 h 1128713"/>
                  <a:gd name="connsiteX107" fmla="*/ 125016 w 1183985"/>
                  <a:gd name="connsiteY107" fmla="*/ 62482 h 1128713"/>
                  <a:gd name="connsiteX108" fmla="*/ 113586 w 1183985"/>
                  <a:gd name="connsiteY108" fmla="*/ 99403 h 1128713"/>
                  <a:gd name="connsiteX109" fmla="*/ 142875 w 1183985"/>
                  <a:gd name="connsiteY109" fmla="*/ 134194 h 1128713"/>
                  <a:gd name="connsiteX110" fmla="*/ 130016 w 1183985"/>
                  <a:gd name="connsiteY110" fmla="*/ 168275 h 1128713"/>
                  <a:gd name="connsiteX111" fmla="*/ 89297 w 1183985"/>
                  <a:gd name="connsiteY111" fmla="*/ 119284 h 1128713"/>
                  <a:gd name="connsiteX112" fmla="*/ 62151 w 1183985"/>
                  <a:gd name="connsiteY112" fmla="*/ 125674 h 1128713"/>
                  <a:gd name="connsiteX113" fmla="*/ 0 w 1183985"/>
                  <a:gd name="connsiteY113" fmla="*/ 62482 h 1128713"/>
                  <a:gd name="connsiteX114" fmla="*/ 62151 w 1183985"/>
                  <a:gd name="connsiteY114" fmla="*/ 0 h 112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183985" h="1128713">
                    <a:moveTo>
                      <a:pt x="916123" y="712788"/>
                    </a:moveTo>
                    <a:cubicBezTo>
                      <a:pt x="916123" y="712788"/>
                      <a:pt x="916123" y="712788"/>
                      <a:pt x="819151" y="786369"/>
                    </a:cubicBezTo>
                    <a:cubicBezTo>
                      <a:pt x="819151" y="786369"/>
                      <a:pt x="819151" y="786369"/>
                      <a:pt x="1053025" y="1094265"/>
                    </a:cubicBezTo>
                    <a:cubicBezTo>
                      <a:pt x="1055877" y="1097122"/>
                      <a:pt x="1063720" y="1098551"/>
                      <a:pt x="1072990" y="1097122"/>
                    </a:cubicBezTo>
                    <a:cubicBezTo>
                      <a:pt x="1086537" y="1094265"/>
                      <a:pt x="1102224" y="1087121"/>
                      <a:pt x="1115772" y="1076405"/>
                    </a:cubicBezTo>
                    <a:cubicBezTo>
                      <a:pt x="1145006" y="1054260"/>
                      <a:pt x="1155701" y="1027828"/>
                      <a:pt x="1149997" y="1019970"/>
                    </a:cubicBezTo>
                    <a:cubicBezTo>
                      <a:pt x="1149997" y="1019970"/>
                      <a:pt x="1149997" y="1019970"/>
                      <a:pt x="916123" y="712788"/>
                    </a:cubicBezTo>
                    <a:close/>
                    <a:moveTo>
                      <a:pt x="917497" y="674688"/>
                    </a:moveTo>
                    <a:cubicBezTo>
                      <a:pt x="918926" y="674688"/>
                      <a:pt x="920355" y="674688"/>
                      <a:pt x="921783" y="674688"/>
                    </a:cubicBezTo>
                    <a:cubicBezTo>
                      <a:pt x="926070" y="675402"/>
                      <a:pt x="929641" y="677544"/>
                      <a:pt x="932499" y="680399"/>
                    </a:cubicBezTo>
                    <a:cubicBezTo>
                      <a:pt x="932499" y="680399"/>
                      <a:pt x="932499" y="680399"/>
                      <a:pt x="1176101" y="1000929"/>
                    </a:cubicBezTo>
                    <a:cubicBezTo>
                      <a:pt x="1195389" y="1025915"/>
                      <a:pt x="1178244" y="1068748"/>
                      <a:pt x="1136096" y="1100872"/>
                    </a:cubicBezTo>
                    <a:cubicBezTo>
                      <a:pt x="1117522" y="1114436"/>
                      <a:pt x="1097520" y="1124430"/>
                      <a:pt x="1078946" y="1127285"/>
                    </a:cubicBezTo>
                    <a:cubicBezTo>
                      <a:pt x="1074660" y="1127999"/>
                      <a:pt x="1069659" y="1128713"/>
                      <a:pt x="1065373" y="1128713"/>
                    </a:cubicBezTo>
                    <a:cubicBezTo>
                      <a:pt x="1049657" y="1128713"/>
                      <a:pt x="1036083" y="1123002"/>
                      <a:pt x="1028225" y="1112294"/>
                    </a:cubicBezTo>
                    <a:cubicBezTo>
                      <a:pt x="1028225" y="1112294"/>
                      <a:pt x="1028225" y="1112294"/>
                      <a:pt x="785338" y="793192"/>
                    </a:cubicBezTo>
                    <a:cubicBezTo>
                      <a:pt x="781766" y="788908"/>
                      <a:pt x="781051" y="783911"/>
                      <a:pt x="782480" y="779628"/>
                    </a:cubicBezTo>
                    <a:cubicBezTo>
                      <a:pt x="783194" y="776058"/>
                      <a:pt x="785338" y="773203"/>
                      <a:pt x="788195" y="771061"/>
                    </a:cubicBezTo>
                    <a:cubicBezTo>
                      <a:pt x="788195" y="771061"/>
                      <a:pt x="788195" y="771061"/>
                      <a:pt x="910353" y="677544"/>
                    </a:cubicBezTo>
                    <a:cubicBezTo>
                      <a:pt x="912496" y="676116"/>
                      <a:pt x="914640" y="675402"/>
                      <a:pt x="917497" y="674688"/>
                    </a:cubicBezTo>
                    <a:close/>
                    <a:moveTo>
                      <a:pt x="719495" y="369888"/>
                    </a:moveTo>
                    <a:cubicBezTo>
                      <a:pt x="715205" y="369888"/>
                      <a:pt x="711629" y="370611"/>
                      <a:pt x="708054" y="371334"/>
                    </a:cubicBezTo>
                    <a:cubicBezTo>
                      <a:pt x="698043" y="374225"/>
                      <a:pt x="688746" y="381454"/>
                      <a:pt x="683741" y="391575"/>
                    </a:cubicBezTo>
                    <a:cubicBezTo>
                      <a:pt x="680880" y="396635"/>
                      <a:pt x="679450" y="403141"/>
                      <a:pt x="679450" y="410370"/>
                    </a:cubicBezTo>
                    <a:cubicBezTo>
                      <a:pt x="679450" y="432779"/>
                      <a:pt x="697328" y="450851"/>
                      <a:pt x="719495" y="450851"/>
                    </a:cubicBezTo>
                    <a:cubicBezTo>
                      <a:pt x="740948" y="450851"/>
                      <a:pt x="758825" y="432779"/>
                      <a:pt x="758825" y="410370"/>
                    </a:cubicBezTo>
                    <a:cubicBezTo>
                      <a:pt x="758825" y="408201"/>
                      <a:pt x="758825" y="406032"/>
                      <a:pt x="758825" y="403864"/>
                    </a:cubicBezTo>
                    <a:cubicBezTo>
                      <a:pt x="756680" y="392298"/>
                      <a:pt x="750244" y="382900"/>
                      <a:pt x="741663" y="376394"/>
                    </a:cubicBezTo>
                    <a:cubicBezTo>
                      <a:pt x="735227" y="372057"/>
                      <a:pt x="727361" y="369888"/>
                      <a:pt x="719495" y="369888"/>
                    </a:cubicBezTo>
                    <a:close/>
                    <a:moveTo>
                      <a:pt x="343258" y="350838"/>
                    </a:moveTo>
                    <a:cubicBezTo>
                      <a:pt x="337538" y="350838"/>
                      <a:pt x="333247" y="351561"/>
                      <a:pt x="328956" y="353730"/>
                    </a:cubicBezTo>
                    <a:cubicBezTo>
                      <a:pt x="318230" y="357344"/>
                      <a:pt x="310364" y="365296"/>
                      <a:pt x="306074" y="375416"/>
                    </a:cubicBezTo>
                    <a:cubicBezTo>
                      <a:pt x="303928" y="380476"/>
                      <a:pt x="303213" y="385537"/>
                      <a:pt x="303213" y="391320"/>
                    </a:cubicBezTo>
                    <a:cubicBezTo>
                      <a:pt x="303213" y="413729"/>
                      <a:pt x="321091" y="431801"/>
                      <a:pt x="343258" y="431801"/>
                    </a:cubicBezTo>
                    <a:cubicBezTo>
                      <a:pt x="364711" y="431801"/>
                      <a:pt x="382588" y="413729"/>
                      <a:pt x="382588" y="391320"/>
                    </a:cubicBezTo>
                    <a:cubicBezTo>
                      <a:pt x="382588" y="386982"/>
                      <a:pt x="381873" y="382645"/>
                      <a:pt x="381158" y="379031"/>
                    </a:cubicBezTo>
                    <a:cubicBezTo>
                      <a:pt x="377583" y="368187"/>
                      <a:pt x="370432" y="359513"/>
                      <a:pt x="360420" y="355175"/>
                    </a:cubicBezTo>
                    <a:cubicBezTo>
                      <a:pt x="355415" y="352284"/>
                      <a:pt x="348979" y="350838"/>
                      <a:pt x="343258" y="350838"/>
                    </a:cubicBezTo>
                    <a:close/>
                    <a:moveTo>
                      <a:pt x="1029133" y="176213"/>
                    </a:moveTo>
                    <a:cubicBezTo>
                      <a:pt x="1009650" y="176213"/>
                      <a:pt x="993775" y="191894"/>
                      <a:pt x="993775" y="211138"/>
                    </a:cubicBezTo>
                    <a:cubicBezTo>
                      <a:pt x="993775" y="212564"/>
                      <a:pt x="993775" y="213989"/>
                      <a:pt x="993775" y="214702"/>
                    </a:cubicBezTo>
                    <a:cubicBezTo>
                      <a:pt x="995218" y="226106"/>
                      <a:pt x="1001713" y="236085"/>
                      <a:pt x="1011094" y="241074"/>
                    </a:cubicBezTo>
                    <a:cubicBezTo>
                      <a:pt x="1016145" y="244638"/>
                      <a:pt x="1022639" y="246063"/>
                      <a:pt x="1029133" y="246063"/>
                    </a:cubicBezTo>
                    <a:cubicBezTo>
                      <a:pt x="1048617" y="246063"/>
                      <a:pt x="1065213" y="230383"/>
                      <a:pt x="1065213" y="211138"/>
                    </a:cubicBezTo>
                    <a:cubicBezTo>
                      <a:pt x="1065213" y="191894"/>
                      <a:pt x="1048617" y="176213"/>
                      <a:pt x="1029133" y="176213"/>
                    </a:cubicBezTo>
                    <a:close/>
                    <a:moveTo>
                      <a:pt x="544870" y="157163"/>
                    </a:moveTo>
                    <a:cubicBezTo>
                      <a:pt x="522703" y="157163"/>
                      <a:pt x="504825" y="174881"/>
                      <a:pt x="504825" y="196851"/>
                    </a:cubicBezTo>
                    <a:cubicBezTo>
                      <a:pt x="504825" y="201103"/>
                      <a:pt x="505540" y="204646"/>
                      <a:pt x="506255" y="208190"/>
                    </a:cubicBezTo>
                    <a:cubicBezTo>
                      <a:pt x="509831" y="218820"/>
                      <a:pt x="516982" y="227325"/>
                      <a:pt x="526993" y="232286"/>
                    </a:cubicBezTo>
                    <a:cubicBezTo>
                      <a:pt x="532714" y="234412"/>
                      <a:pt x="538434" y="236538"/>
                      <a:pt x="544870" y="236538"/>
                    </a:cubicBezTo>
                    <a:cubicBezTo>
                      <a:pt x="549161" y="236538"/>
                      <a:pt x="553451" y="235121"/>
                      <a:pt x="557742" y="233703"/>
                    </a:cubicBezTo>
                    <a:cubicBezTo>
                      <a:pt x="567753" y="230160"/>
                      <a:pt x="576334" y="223073"/>
                      <a:pt x="580625" y="213151"/>
                    </a:cubicBezTo>
                    <a:cubicBezTo>
                      <a:pt x="583485" y="208190"/>
                      <a:pt x="584200" y="202520"/>
                      <a:pt x="584200" y="196851"/>
                    </a:cubicBezTo>
                    <a:cubicBezTo>
                      <a:pt x="584200" y="174881"/>
                      <a:pt x="566323" y="157163"/>
                      <a:pt x="544870" y="157163"/>
                    </a:cubicBezTo>
                    <a:close/>
                    <a:moveTo>
                      <a:pt x="544702" y="125413"/>
                    </a:moveTo>
                    <a:cubicBezTo>
                      <a:pt x="583996" y="125413"/>
                      <a:pt x="615431" y="157481"/>
                      <a:pt x="615431" y="196676"/>
                    </a:cubicBezTo>
                    <a:cubicBezTo>
                      <a:pt x="615431" y="212353"/>
                      <a:pt x="610430" y="227319"/>
                      <a:pt x="601857" y="238721"/>
                    </a:cubicBezTo>
                    <a:cubicBezTo>
                      <a:pt x="601857" y="238721"/>
                      <a:pt x="601857" y="238721"/>
                      <a:pt x="688304" y="345614"/>
                    </a:cubicBezTo>
                    <a:cubicBezTo>
                      <a:pt x="697592" y="341339"/>
                      <a:pt x="708308" y="338488"/>
                      <a:pt x="719739" y="338488"/>
                    </a:cubicBezTo>
                    <a:cubicBezTo>
                      <a:pt x="726169" y="338488"/>
                      <a:pt x="732599" y="339201"/>
                      <a:pt x="739029" y="341339"/>
                    </a:cubicBezTo>
                    <a:cubicBezTo>
                      <a:pt x="750460" y="344189"/>
                      <a:pt x="761177" y="350603"/>
                      <a:pt x="769750" y="359154"/>
                    </a:cubicBezTo>
                    <a:cubicBezTo>
                      <a:pt x="769750" y="359154"/>
                      <a:pt x="769750" y="359154"/>
                      <a:pt x="823333" y="324236"/>
                    </a:cubicBezTo>
                    <a:cubicBezTo>
                      <a:pt x="823333" y="324236"/>
                      <a:pt x="823333" y="324236"/>
                      <a:pt x="855483" y="303569"/>
                    </a:cubicBezTo>
                    <a:cubicBezTo>
                      <a:pt x="855483" y="303569"/>
                      <a:pt x="855483" y="303569"/>
                      <a:pt x="901921" y="274352"/>
                    </a:cubicBezTo>
                    <a:cubicBezTo>
                      <a:pt x="901921" y="274352"/>
                      <a:pt x="901921" y="274352"/>
                      <a:pt x="931928" y="255111"/>
                    </a:cubicBezTo>
                    <a:cubicBezTo>
                      <a:pt x="931928" y="255111"/>
                      <a:pt x="931928" y="255111"/>
                      <a:pt x="966935" y="232307"/>
                    </a:cubicBezTo>
                    <a:cubicBezTo>
                      <a:pt x="964792" y="225893"/>
                      <a:pt x="963363" y="218767"/>
                      <a:pt x="963363" y="210928"/>
                    </a:cubicBezTo>
                    <a:cubicBezTo>
                      <a:pt x="963363" y="205940"/>
                      <a:pt x="964077" y="200951"/>
                      <a:pt x="964792" y="196676"/>
                    </a:cubicBezTo>
                    <a:cubicBezTo>
                      <a:pt x="971222" y="166745"/>
                      <a:pt x="998371" y="144654"/>
                      <a:pt x="1029806" y="144654"/>
                    </a:cubicBezTo>
                    <a:cubicBezTo>
                      <a:pt x="1066957" y="144654"/>
                      <a:pt x="1096963" y="174584"/>
                      <a:pt x="1096963" y="210928"/>
                    </a:cubicBezTo>
                    <a:cubicBezTo>
                      <a:pt x="1096963" y="247272"/>
                      <a:pt x="1066957" y="277202"/>
                      <a:pt x="1029806" y="277202"/>
                    </a:cubicBezTo>
                    <a:cubicBezTo>
                      <a:pt x="1024805" y="277202"/>
                      <a:pt x="1020518" y="277202"/>
                      <a:pt x="1015517" y="275777"/>
                    </a:cubicBezTo>
                    <a:cubicBezTo>
                      <a:pt x="1003372" y="272927"/>
                      <a:pt x="992655" y="267226"/>
                      <a:pt x="984082" y="258674"/>
                    </a:cubicBezTo>
                    <a:cubicBezTo>
                      <a:pt x="984082" y="258674"/>
                      <a:pt x="984082" y="258674"/>
                      <a:pt x="934071" y="290742"/>
                    </a:cubicBezTo>
                    <a:cubicBezTo>
                      <a:pt x="934071" y="290742"/>
                      <a:pt x="934071" y="290742"/>
                      <a:pt x="902636" y="310696"/>
                    </a:cubicBezTo>
                    <a:cubicBezTo>
                      <a:pt x="902636" y="310696"/>
                      <a:pt x="902636" y="310696"/>
                      <a:pt x="852625" y="342764"/>
                    </a:cubicBezTo>
                    <a:cubicBezTo>
                      <a:pt x="852625" y="342764"/>
                      <a:pt x="852625" y="342764"/>
                      <a:pt x="817617" y="365568"/>
                    </a:cubicBezTo>
                    <a:cubicBezTo>
                      <a:pt x="817617" y="365568"/>
                      <a:pt x="817617" y="365568"/>
                      <a:pt x="786182" y="385521"/>
                    </a:cubicBezTo>
                    <a:cubicBezTo>
                      <a:pt x="789040" y="392648"/>
                      <a:pt x="790469" y="401199"/>
                      <a:pt x="790469" y="409751"/>
                    </a:cubicBezTo>
                    <a:cubicBezTo>
                      <a:pt x="790469" y="413314"/>
                      <a:pt x="790469" y="416877"/>
                      <a:pt x="789754" y="420440"/>
                    </a:cubicBezTo>
                    <a:cubicBezTo>
                      <a:pt x="784753" y="454646"/>
                      <a:pt x="754747" y="481013"/>
                      <a:pt x="719739" y="481013"/>
                    </a:cubicBezTo>
                    <a:cubicBezTo>
                      <a:pt x="679731" y="481013"/>
                      <a:pt x="648295" y="448945"/>
                      <a:pt x="648295" y="409751"/>
                    </a:cubicBezTo>
                    <a:cubicBezTo>
                      <a:pt x="648295" y="392648"/>
                      <a:pt x="654011" y="377682"/>
                      <a:pt x="663298" y="365568"/>
                    </a:cubicBezTo>
                    <a:cubicBezTo>
                      <a:pt x="663298" y="365568"/>
                      <a:pt x="663298" y="365568"/>
                      <a:pt x="577566" y="259387"/>
                    </a:cubicBezTo>
                    <a:cubicBezTo>
                      <a:pt x="567564" y="264375"/>
                      <a:pt x="556133" y="267938"/>
                      <a:pt x="544702" y="267938"/>
                    </a:cubicBezTo>
                    <a:cubicBezTo>
                      <a:pt x="529698" y="267938"/>
                      <a:pt x="515409" y="262950"/>
                      <a:pt x="503978" y="255111"/>
                    </a:cubicBezTo>
                    <a:cubicBezTo>
                      <a:pt x="503978" y="255111"/>
                      <a:pt x="503978" y="255111"/>
                      <a:pt x="404671" y="354878"/>
                    </a:cubicBezTo>
                    <a:cubicBezTo>
                      <a:pt x="409672" y="365568"/>
                      <a:pt x="413245" y="377682"/>
                      <a:pt x="413245" y="390510"/>
                    </a:cubicBezTo>
                    <a:cubicBezTo>
                      <a:pt x="413245" y="429704"/>
                      <a:pt x="382524" y="461772"/>
                      <a:pt x="343230" y="461772"/>
                    </a:cubicBezTo>
                    <a:cubicBezTo>
                      <a:pt x="303221" y="461772"/>
                      <a:pt x="271786" y="429704"/>
                      <a:pt x="271786" y="390510"/>
                    </a:cubicBezTo>
                    <a:cubicBezTo>
                      <a:pt x="271786" y="374832"/>
                      <a:pt x="276072" y="361292"/>
                      <a:pt x="284646" y="349890"/>
                    </a:cubicBezTo>
                    <a:cubicBezTo>
                      <a:pt x="284646" y="349890"/>
                      <a:pt x="284646" y="349890"/>
                      <a:pt x="217488" y="270789"/>
                    </a:cubicBezTo>
                    <a:cubicBezTo>
                      <a:pt x="218917" y="257249"/>
                      <a:pt x="221775" y="243709"/>
                      <a:pt x="224633" y="230169"/>
                    </a:cubicBezTo>
                    <a:cubicBezTo>
                      <a:pt x="224633" y="230169"/>
                      <a:pt x="224633" y="230169"/>
                      <a:pt x="307508" y="328511"/>
                    </a:cubicBezTo>
                    <a:cubicBezTo>
                      <a:pt x="318224" y="322810"/>
                      <a:pt x="330370" y="319247"/>
                      <a:pt x="343230" y="319247"/>
                    </a:cubicBezTo>
                    <a:cubicBezTo>
                      <a:pt x="358233" y="319247"/>
                      <a:pt x="371807" y="323523"/>
                      <a:pt x="383238" y="332074"/>
                    </a:cubicBezTo>
                    <a:cubicBezTo>
                      <a:pt x="383238" y="332074"/>
                      <a:pt x="383238" y="332074"/>
                      <a:pt x="482545" y="232307"/>
                    </a:cubicBezTo>
                    <a:cubicBezTo>
                      <a:pt x="476830" y="221618"/>
                      <a:pt x="473258" y="209503"/>
                      <a:pt x="473258" y="196676"/>
                    </a:cubicBezTo>
                    <a:cubicBezTo>
                      <a:pt x="473258" y="157481"/>
                      <a:pt x="504693" y="125413"/>
                      <a:pt x="544702" y="125413"/>
                    </a:cubicBezTo>
                    <a:close/>
                    <a:moveTo>
                      <a:pt x="62351" y="31750"/>
                    </a:moveTo>
                    <a:cubicBezTo>
                      <a:pt x="45271" y="31750"/>
                      <a:pt x="31750" y="45118"/>
                      <a:pt x="31750" y="62003"/>
                    </a:cubicBezTo>
                    <a:cubicBezTo>
                      <a:pt x="31750" y="78888"/>
                      <a:pt x="45271" y="93663"/>
                      <a:pt x="62351" y="93663"/>
                    </a:cubicBezTo>
                    <a:cubicBezTo>
                      <a:pt x="64486" y="93663"/>
                      <a:pt x="65909" y="92960"/>
                      <a:pt x="68044" y="92960"/>
                    </a:cubicBezTo>
                    <a:cubicBezTo>
                      <a:pt x="78719" y="90849"/>
                      <a:pt x="87970" y="82406"/>
                      <a:pt x="91528" y="72556"/>
                    </a:cubicBezTo>
                    <a:cubicBezTo>
                      <a:pt x="92952" y="69039"/>
                      <a:pt x="93663" y="65521"/>
                      <a:pt x="93663" y="62003"/>
                    </a:cubicBezTo>
                    <a:cubicBezTo>
                      <a:pt x="93663" y="45118"/>
                      <a:pt x="79430" y="31750"/>
                      <a:pt x="62351" y="31750"/>
                    </a:cubicBezTo>
                    <a:close/>
                    <a:moveTo>
                      <a:pt x="62151" y="0"/>
                    </a:moveTo>
                    <a:cubicBezTo>
                      <a:pt x="96441" y="0"/>
                      <a:pt x="125016" y="27691"/>
                      <a:pt x="125016" y="62482"/>
                    </a:cubicBezTo>
                    <a:cubicBezTo>
                      <a:pt x="125016" y="75972"/>
                      <a:pt x="120730" y="88043"/>
                      <a:pt x="113586" y="99403"/>
                    </a:cubicBezTo>
                    <a:cubicBezTo>
                      <a:pt x="113586" y="99403"/>
                      <a:pt x="113586" y="99403"/>
                      <a:pt x="142875" y="134194"/>
                    </a:cubicBezTo>
                    <a:cubicBezTo>
                      <a:pt x="138589" y="144844"/>
                      <a:pt x="134303" y="156915"/>
                      <a:pt x="130016" y="168275"/>
                    </a:cubicBezTo>
                    <a:cubicBezTo>
                      <a:pt x="130016" y="168275"/>
                      <a:pt x="130016" y="168275"/>
                      <a:pt x="89297" y="119284"/>
                    </a:cubicBezTo>
                    <a:cubicBezTo>
                      <a:pt x="81439" y="123544"/>
                      <a:pt x="72152" y="125674"/>
                      <a:pt x="62151" y="125674"/>
                    </a:cubicBezTo>
                    <a:cubicBezTo>
                      <a:pt x="27861" y="125674"/>
                      <a:pt x="0" y="97273"/>
                      <a:pt x="0" y="62482"/>
                    </a:cubicBezTo>
                    <a:cubicBezTo>
                      <a:pt x="0" y="27691"/>
                      <a:pt x="27861" y="0"/>
                      <a:pt x="62151" y="0"/>
                    </a:cubicBezTo>
                    <a:close/>
                  </a:path>
                </a:pathLst>
              </a:custGeom>
              <a:solidFill>
                <a:srgbClr val="000A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67" name="bcgIcons_Megaphone ">
            <a:extLst>
              <a:ext uri="{FF2B5EF4-FFF2-40B4-BE49-F238E27FC236}">
                <a16:creationId xmlns:a16="http://schemas.microsoft.com/office/drawing/2014/main" id="{59CA23AC-EA0D-070B-573E-A244C643FC1C}"/>
              </a:ext>
            </a:extLst>
          </p:cNvPr>
          <p:cNvGrpSpPr>
            <a:grpSpLocks noChangeAspect="1"/>
          </p:cNvGrpSpPr>
          <p:nvPr/>
        </p:nvGrpSpPr>
        <p:grpSpPr bwMode="auto">
          <a:xfrm>
            <a:off x="9052168" y="1855957"/>
            <a:ext cx="602790" cy="559735"/>
            <a:chOff x="1682" y="0"/>
            <a:chExt cx="4316" cy="4320"/>
          </a:xfrm>
        </p:grpSpPr>
        <p:sp>
          <p:nvSpPr>
            <p:cNvPr id="64" name="AutoShape 18">
              <a:extLst>
                <a:ext uri="{FF2B5EF4-FFF2-40B4-BE49-F238E27FC236}">
                  <a16:creationId xmlns:a16="http://schemas.microsoft.com/office/drawing/2014/main" id="{D25A5F83-A116-FC65-3D3E-1929FBFFFA6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20">
              <a:extLst>
                <a:ext uri="{FF2B5EF4-FFF2-40B4-BE49-F238E27FC236}">
                  <a16:creationId xmlns:a16="http://schemas.microsoft.com/office/drawing/2014/main" id="{F4BE9A37-63DE-D484-F2AE-38EBCEA5682A}"/>
                </a:ext>
              </a:extLst>
            </p:cNvPr>
            <p:cNvSpPr>
              <a:spLocks noEditPoints="1"/>
            </p:cNvSpPr>
            <p:nvPr/>
          </p:nvSpPr>
          <p:spPr bwMode="auto">
            <a:xfrm>
              <a:off x="2115" y="741"/>
              <a:ext cx="3130" cy="2949"/>
            </a:xfrm>
            <a:custGeom>
              <a:avLst/>
              <a:gdLst>
                <a:gd name="T0" fmla="*/ 234 w 1671"/>
                <a:gd name="T1" fmla="*/ 835 h 1573"/>
                <a:gd name="T2" fmla="*/ 0 w 1671"/>
                <a:gd name="T3" fmla="*/ 585 h 1573"/>
                <a:gd name="T4" fmla="*/ 234 w 1671"/>
                <a:gd name="T5" fmla="*/ 335 h 1573"/>
                <a:gd name="T6" fmla="*/ 234 w 1671"/>
                <a:gd name="T7" fmla="*/ 379 h 1573"/>
                <a:gd name="T8" fmla="*/ 44 w 1671"/>
                <a:gd name="T9" fmla="*/ 585 h 1573"/>
                <a:gd name="T10" fmla="*/ 234 w 1671"/>
                <a:gd name="T11" fmla="*/ 791 h 1573"/>
                <a:gd name="T12" fmla="*/ 234 w 1671"/>
                <a:gd name="T13" fmla="*/ 835 h 1573"/>
                <a:gd name="T14" fmla="*/ 1569 w 1671"/>
                <a:gd name="T15" fmla="*/ 0 h 1573"/>
                <a:gd name="T16" fmla="*/ 1524 w 1671"/>
                <a:gd name="T17" fmla="*/ 10 h 1573"/>
                <a:gd name="T18" fmla="*/ 1196 w 1671"/>
                <a:gd name="T19" fmla="*/ 169 h 1573"/>
                <a:gd name="T20" fmla="*/ 1202 w 1671"/>
                <a:gd name="T21" fmla="*/ 197 h 1573"/>
                <a:gd name="T22" fmla="*/ 1202 w 1671"/>
                <a:gd name="T23" fmla="*/ 215 h 1573"/>
                <a:gd name="T24" fmla="*/ 1544 w 1671"/>
                <a:gd name="T25" fmla="*/ 49 h 1573"/>
                <a:gd name="T26" fmla="*/ 1569 w 1671"/>
                <a:gd name="T27" fmla="*/ 44 h 1573"/>
                <a:gd name="T28" fmla="*/ 1627 w 1671"/>
                <a:gd name="T29" fmla="*/ 102 h 1573"/>
                <a:gd name="T30" fmla="*/ 1627 w 1671"/>
                <a:gd name="T31" fmla="*/ 1104 h 1573"/>
                <a:gd name="T32" fmla="*/ 1609 w 1671"/>
                <a:gd name="T33" fmla="*/ 1146 h 1573"/>
                <a:gd name="T34" fmla="*/ 1569 w 1671"/>
                <a:gd name="T35" fmla="*/ 1163 h 1573"/>
                <a:gd name="T36" fmla="*/ 1569 w 1671"/>
                <a:gd name="T37" fmla="*/ 1163 h 1573"/>
                <a:gd name="T38" fmla="*/ 1544 w 1671"/>
                <a:gd name="T39" fmla="*/ 1157 h 1573"/>
                <a:gd name="T40" fmla="*/ 1200 w 1671"/>
                <a:gd name="T41" fmla="*/ 990 h 1573"/>
                <a:gd name="T42" fmla="*/ 1173 w 1671"/>
                <a:gd name="T43" fmla="*/ 1026 h 1573"/>
                <a:gd name="T44" fmla="*/ 1524 w 1671"/>
                <a:gd name="T45" fmla="*/ 1196 h 1573"/>
                <a:gd name="T46" fmla="*/ 1569 w 1671"/>
                <a:gd name="T47" fmla="*/ 1207 h 1573"/>
                <a:gd name="T48" fmla="*/ 1569 w 1671"/>
                <a:gd name="T49" fmla="*/ 1207 h 1573"/>
                <a:gd name="T50" fmla="*/ 1640 w 1671"/>
                <a:gd name="T51" fmla="*/ 1178 h 1573"/>
                <a:gd name="T52" fmla="*/ 1671 w 1671"/>
                <a:gd name="T53" fmla="*/ 1104 h 1573"/>
                <a:gd name="T54" fmla="*/ 1671 w 1671"/>
                <a:gd name="T55" fmla="*/ 102 h 1573"/>
                <a:gd name="T56" fmla="*/ 1569 w 1671"/>
                <a:gd name="T57" fmla="*/ 0 h 1573"/>
                <a:gd name="T58" fmla="*/ 623 w 1671"/>
                <a:gd name="T59" fmla="*/ 960 h 1573"/>
                <a:gd name="T60" fmla="*/ 572 w 1671"/>
                <a:gd name="T61" fmla="*/ 953 h 1573"/>
                <a:gd name="T62" fmla="*/ 812 w 1671"/>
                <a:gd name="T63" fmla="*/ 1529 h 1573"/>
                <a:gd name="T64" fmla="*/ 600 w 1671"/>
                <a:gd name="T65" fmla="*/ 1529 h 1573"/>
                <a:gd name="T66" fmla="*/ 347 w 1671"/>
                <a:gd name="T67" fmla="*/ 919 h 1573"/>
                <a:gd name="T68" fmla="*/ 296 w 1671"/>
                <a:gd name="T69" fmla="*/ 912 h 1573"/>
                <a:gd name="T70" fmla="*/ 565 w 1671"/>
                <a:gd name="T71" fmla="*/ 1560 h 1573"/>
                <a:gd name="T72" fmla="*/ 586 w 1671"/>
                <a:gd name="T73" fmla="*/ 1573 h 1573"/>
                <a:gd name="T74" fmla="*/ 845 w 1671"/>
                <a:gd name="T75" fmla="*/ 1573 h 1573"/>
                <a:gd name="T76" fmla="*/ 863 w 1671"/>
                <a:gd name="T77" fmla="*/ 1563 h 1573"/>
                <a:gd name="T78" fmla="*/ 865 w 1671"/>
                <a:gd name="T79" fmla="*/ 1543 h 1573"/>
                <a:gd name="T80" fmla="*/ 623 w 1671"/>
                <a:gd name="T81" fmla="*/ 96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71" h="1573">
                  <a:moveTo>
                    <a:pt x="234" y="835"/>
                  </a:moveTo>
                  <a:cubicBezTo>
                    <a:pt x="101" y="815"/>
                    <a:pt x="0" y="710"/>
                    <a:pt x="0" y="585"/>
                  </a:cubicBezTo>
                  <a:cubicBezTo>
                    <a:pt x="0" y="459"/>
                    <a:pt x="101" y="355"/>
                    <a:pt x="234" y="335"/>
                  </a:cubicBezTo>
                  <a:cubicBezTo>
                    <a:pt x="234" y="379"/>
                    <a:pt x="234" y="379"/>
                    <a:pt x="234" y="379"/>
                  </a:cubicBezTo>
                  <a:cubicBezTo>
                    <a:pt x="126" y="399"/>
                    <a:pt x="44" y="483"/>
                    <a:pt x="44" y="585"/>
                  </a:cubicBezTo>
                  <a:cubicBezTo>
                    <a:pt x="44" y="686"/>
                    <a:pt x="126" y="771"/>
                    <a:pt x="234" y="791"/>
                  </a:cubicBezTo>
                  <a:lnTo>
                    <a:pt x="234" y="835"/>
                  </a:lnTo>
                  <a:close/>
                  <a:moveTo>
                    <a:pt x="1569" y="0"/>
                  </a:moveTo>
                  <a:cubicBezTo>
                    <a:pt x="1553" y="0"/>
                    <a:pt x="1539" y="3"/>
                    <a:pt x="1524" y="10"/>
                  </a:cubicBezTo>
                  <a:cubicBezTo>
                    <a:pt x="1196" y="169"/>
                    <a:pt x="1196" y="169"/>
                    <a:pt x="1196" y="169"/>
                  </a:cubicBezTo>
                  <a:cubicBezTo>
                    <a:pt x="1200" y="177"/>
                    <a:pt x="1202" y="187"/>
                    <a:pt x="1202" y="197"/>
                  </a:cubicBezTo>
                  <a:cubicBezTo>
                    <a:pt x="1202" y="215"/>
                    <a:pt x="1202" y="215"/>
                    <a:pt x="1202" y="215"/>
                  </a:cubicBezTo>
                  <a:cubicBezTo>
                    <a:pt x="1544" y="49"/>
                    <a:pt x="1544" y="49"/>
                    <a:pt x="1544" y="49"/>
                  </a:cubicBezTo>
                  <a:cubicBezTo>
                    <a:pt x="1552" y="46"/>
                    <a:pt x="1560" y="44"/>
                    <a:pt x="1569" y="44"/>
                  </a:cubicBezTo>
                  <a:cubicBezTo>
                    <a:pt x="1597" y="44"/>
                    <a:pt x="1627" y="66"/>
                    <a:pt x="1627" y="102"/>
                  </a:cubicBezTo>
                  <a:cubicBezTo>
                    <a:pt x="1627" y="1104"/>
                    <a:pt x="1627" y="1104"/>
                    <a:pt x="1627" y="1104"/>
                  </a:cubicBezTo>
                  <a:cubicBezTo>
                    <a:pt x="1627" y="1120"/>
                    <a:pt x="1621" y="1135"/>
                    <a:pt x="1609" y="1146"/>
                  </a:cubicBezTo>
                  <a:cubicBezTo>
                    <a:pt x="1598" y="1157"/>
                    <a:pt x="1584" y="1163"/>
                    <a:pt x="1569" y="1163"/>
                  </a:cubicBezTo>
                  <a:cubicBezTo>
                    <a:pt x="1569" y="1163"/>
                    <a:pt x="1569" y="1163"/>
                    <a:pt x="1569" y="1163"/>
                  </a:cubicBezTo>
                  <a:cubicBezTo>
                    <a:pt x="1560" y="1163"/>
                    <a:pt x="1552" y="1161"/>
                    <a:pt x="1544" y="1157"/>
                  </a:cubicBezTo>
                  <a:cubicBezTo>
                    <a:pt x="1200" y="990"/>
                    <a:pt x="1200" y="990"/>
                    <a:pt x="1200" y="990"/>
                  </a:cubicBezTo>
                  <a:cubicBezTo>
                    <a:pt x="1196" y="1006"/>
                    <a:pt x="1186" y="1018"/>
                    <a:pt x="1173" y="1026"/>
                  </a:cubicBezTo>
                  <a:cubicBezTo>
                    <a:pt x="1524" y="1196"/>
                    <a:pt x="1524" y="1196"/>
                    <a:pt x="1524" y="1196"/>
                  </a:cubicBezTo>
                  <a:cubicBezTo>
                    <a:pt x="1539" y="1203"/>
                    <a:pt x="1553" y="1207"/>
                    <a:pt x="1569" y="1207"/>
                  </a:cubicBezTo>
                  <a:cubicBezTo>
                    <a:pt x="1569" y="1207"/>
                    <a:pt x="1569" y="1207"/>
                    <a:pt x="1569" y="1207"/>
                  </a:cubicBezTo>
                  <a:cubicBezTo>
                    <a:pt x="1595" y="1207"/>
                    <a:pt x="1621" y="1196"/>
                    <a:pt x="1640" y="1178"/>
                  </a:cubicBezTo>
                  <a:cubicBezTo>
                    <a:pt x="1660" y="1158"/>
                    <a:pt x="1671" y="1132"/>
                    <a:pt x="1671" y="1104"/>
                  </a:cubicBezTo>
                  <a:cubicBezTo>
                    <a:pt x="1671" y="102"/>
                    <a:pt x="1671" y="102"/>
                    <a:pt x="1671" y="102"/>
                  </a:cubicBezTo>
                  <a:cubicBezTo>
                    <a:pt x="1671" y="45"/>
                    <a:pt x="1625" y="0"/>
                    <a:pt x="1569" y="0"/>
                  </a:cubicBezTo>
                  <a:close/>
                  <a:moveTo>
                    <a:pt x="623" y="960"/>
                  </a:moveTo>
                  <a:cubicBezTo>
                    <a:pt x="572" y="953"/>
                    <a:pt x="572" y="953"/>
                    <a:pt x="572" y="953"/>
                  </a:cubicBezTo>
                  <a:cubicBezTo>
                    <a:pt x="812" y="1529"/>
                    <a:pt x="812" y="1529"/>
                    <a:pt x="812" y="1529"/>
                  </a:cubicBezTo>
                  <a:cubicBezTo>
                    <a:pt x="600" y="1529"/>
                    <a:pt x="600" y="1529"/>
                    <a:pt x="600" y="1529"/>
                  </a:cubicBezTo>
                  <a:cubicBezTo>
                    <a:pt x="347" y="919"/>
                    <a:pt x="347" y="919"/>
                    <a:pt x="347" y="919"/>
                  </a:cubicBezTo>
                  <a:cubicBezTo>
                    <a:pt x="296" y="912"/>
                    <a:pt x="296" y="912"/>
                    <a:pt x="296" y="912"/>
                  </a:cubicBezTo>
                  <a:cubicBezTo>
                    <a:pt x="565" y="1560"/>
                    <a:pt x="565" y="1560"/>
                    <a:pt x="565" y="1560"/>
                  </a:cubicBezTo>
                  <a:cubicBezTo>
                    <a:pt x="569" y="1568"/>
                    <a:pt x="577" y="1573"/>
                    <a:pt x="586" y="1573"/>
                  </a:cubicBezTo>
                  <a:cubicBezTo>
                    <a:pt x="845" y="1573"/>
                    <a:pt x="845" y="1573"/>
                    <a:pt x="845" y="1573"/>
                  </a:cubicBezTo>
                  <a:cubicBezTo>
                    <a:pt x="852" y="1573"/>
                    <a:pt x="859" y="1569"/>
                    <a:pt x="863" y="1563"/>
                  </a:cubicBezTo>
                  <a:cubicBezTo>
                    <a:pt x="867" y="1557"/>
                    <a:pt x="868" y="1550"/>
                    <a:pt x="865" y="1543"/>
                  </a:cubicBezTo>
                  <a:lnTo>
                    <a:pt x="623" y="960"/>
                  </a:lnTo>
                  <a:close/>
                </a:path>
              </a:pathLst>
            </a:custGeom>
            <a:solidFill>
              <a:srgbClr val="000A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21">
              <a:extLst>
                <a:ext uri="{FF2B5EF4-FFF2-40B4-BE49-F238E27FC236}">
                  <a16:creationId xmlns:a16="http://schemas.microsoft.com/office/drawing/2014/main" id="{08B09961-2F1A-CBAC-7F6F-8A6C7B6CD40B}"/>
                </a:ext>
              </a:extLst>
            </p:cNvPr>
            <p:cNvSpPr>
              <a:spLocks noEditPoints="1"/>
            </p:cNvSpPr>
            <p:nvPr/>
          </p:nvSpPr>
          <p:spPr bwMode="auto">
            <a:xfrm>
              <a:off x="2636" y="1074"/>
              <a:ext cx="2916" cy="1525"/>
            </a:xfrm>
            <a:custGeom>
              <a:avLst/>
              <a:gdLst>
                <a:gd name="T0" fmla="*/ 1557 w 1557"/>
                <a:gd name="T1" fmla="*/ 412 h 813"/>
                <a:gd name="T2" fmla="*/ 1437 w 1557"/>
                <a:gd name="T3" fmla="*/ 575 h 813"/>
                <a:gd name="T4" fmla="*/ 1437 w 1557"/>
                <a:gd name="T5" fmla="*/ 246 h 813"/>
                <a:gd name="T6" fmla="*/ 1557 w 1557"/>
                <a:gd name="T7" fmla="*/ 412 h 813"/>
                <a:gd name="T8" fmla="*/ 880 w 1557"/>
                <a:gd name="T9" fmla="*/ 797 h 813"/>
                <a:gd name="T10" fmla="*/ 880 w 1557"/>
                <a:gd name="T11" fmla="*/ 797 h 813"/>
                <a:gd name="T12" fmla="*/ 880 w 1557"/>
                <a:gd name="T13" fmla="*/ 19 h 813"/>
                <a:gd name="T14" fmla="*/ 861 w 1557"/>
                <a:gd name="T15" fmla="*/ 0 h 813"/>
                <a:gd name="T16" fmla="*/ 19 w 1557"/>
                <a:gd name="T17" fmla="*/ 108 h 813"/>
                <a:gd name="T18" fmla="*/ 0 w 1557"/>
                <a:gd name="T19" fmla="*/ 127 h 813"/>
                <a:gd name="T20" fmla="*/ 0 w 1557"/>
                <a:gd name="T21" fmla="*/ 671 h 813"/>
                <a:gd name="T22" fmla="*/ 19 w 1557"/>
                <a:gd name="T23" fmla="*/ 690 h 813"/>
                <a:gd name="T24" fmla="*/ 861 w 1557"/>
                <a:gd name="T25" fmla="*/ 813 h 813"/>
                <a:gd name="T26" fmla="*/ 880 w 1557"/>
                <a:gd name="T27" fmla="*/ 797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7" h="813">
                  <a:moveTo>
                    <a:pt x="1557" y="412"/>
                  </a:moveTo>
                  <a:cubicBezTo>
                    <a:pt x="1557" y="486"/>
                    <a:pt x="1506" y="550"/>
                    <a:pt x="1437" y="575"/>
                  </a:cubicBezTo>
                  <a:cubicBezTo>
                    <a:pt x="1437" y="246"/>
                    <a:pt x="1437" y="246"/>
                    <a:pt x="1437" y="246"/>
                  </a:cubicBezTo>
                  <a:cubicBezTo>
                    <a:pt x="1506" y="271"/>
                    <a:pt x="1557" y="335"/>
                    <a:pt x="1557" y="412"/>
                  </a:cubicBezTo>
                  <a:close/>
                  <a:moveTo>
                    <a:pt x="880" y="797"/>
                  </a:moveTo>
                  <a:cubicBezTo>
                    <a:pt x="880" y="797"/>
                    <a:pt x="880" y="797"/>
                    <a:pt x="880" y="797"/>
                  </a:cubicBezTo>
                  <a:cubicBezTo>
                    <a:pt x="880" y="19"/>
                    <a:pt x="880" y="19"/>
                    <a:pt x="880" y="19"/>
                  </a:cubicBezTo>
                  <a:cubicBezTo>
                    <a:pt x="880" y="7"/>
                    <a:pt x="873" y="0"/>
                    <a:pt x="861" y="0"/>
                  </a:cubicBezTo>
                  <a:cubicBezTo>
                    <a:pt x="861" y="0"/>
                    <a:pt x="861" y="0"/>
                    <a:pt x="19" y="108"/>
                  </a:cubicBezTo>
                  <a:cubicBezTo>
                    <a:pt x="9" y="108"/>
                    <a:pt x="0" y="117"/>
                    <a:pt x="0" y="127"/>
                  </a:cubicBezTo>
                  <a:cubicBezTo>
                    <a:pt x="0" y="127"/>
                    <a:pt x="0" y="127"/>
                    <a:pt x="0" y="671"/>
                  </a:cubicBezTo>
                  <a:cubicBezTo>
                    <a:pt x="0" y="683"/>
                    <a:pt x="9" y="690"/>
                    <a:pt x="19" y="690"/>
                  </a:cubicBezTo>
                  <a:cubicBezTo>
                    <a:pt x="19" y="690"/>
                    <a:pt x="19" y="690"/>
                    <a:pt x="861" y="813"/>
                  </a:cubicBezTo>
                  <a:cubicBezTo>
                    <a:pt x="873" y="813"/>
                    <a:pt x="880" y="806"/>
                    <a:pt x="880" y="797"/>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9" name="bcgIcons_Approved ">
            <a:extLst>
              <a:ext uri="{FF2B5EF4-FFF2-40B4-BE49-F238E27FC236}">
                <a16:creationId xmlns:a16="http://schemas.microsoft.com/office/drawing/2014/main" id="{8ADE218E-9661-87F6-A142-C0E5497BB666}"/>
              </a:ext>
            </a:extLst>
          </p:cNvPr>
          <p:cNvGrpSpPr>
            <a:grpSpLocks noChangeAspect="1"/>
          </p:cNvGrpSpPr>
          <p:nvPr/>
        </p:nvGrpSpPr>
        <p:grpSpPr>
          <a:xfrm>
            <a:off x="3230798" y="1777812"/>
            <a:ext cx="668547" cy="667903"/>
            <a:chOff x="5273675" y="2606675"/>
            <a:chExt cx="1646238" cy="1644650"/>
          </a:xfrm>
        </p:grpSpPr>
        <p:sp>
          <p:nvSpPr>
            <p:cNvPr id="85" name="AutoShape 3">
              <a:extLst>
                <a:ext uri="{FF2B5EF4-FFF2-40B4-BE49-F238E27FC236}">
                  <a16:creationId xmlns:a16="http://schemas.microsoft.com/office/drawing/2014/main" id="{62609FFB-CCEA-7B7D-E6F7-37307DD20C89}"/>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86" name="Group 85">
              <a:extLst>
                <a:ext uri="{FF2B5EF4-FFF2-40B4-BE49-F238E27FC236}">
                  <a16:creationId xmlns:a16="http://schemas.microsoft.com/office/drawing/2014/main" id="{35B2FAF9-A68E-9957-ACBD-4567B6E22141}"/>
                </a:ext>
              </a:extLst>
            </p:cNvPr>
            <p:cNvGrpSpPr/>
            <p:nvPr/>
          </p:nvGrpSpPr>
          <p:grpSpPr>
            <a:xfrm>
              <a:off x="5646738" y="2774950"/>
              <a:ext cx="999551" cy="1346201"/>
              <a:chOff x="5646738" y="2774950"/>
              <a:chExt cx="999551" cy="1346201"/>
            </a:xfrm>
          </p:grpSpPr>
          <p:sp>
            <p:nvSpPr>
              <p:cNvPr id="87" name="Freeform 26">
                <a:extLst>
                  <a:ext uri="{FF2B5EF4-FFF2-40B4-BE49-F238E27FC236}">
                    <a16:creationId xmlns:a16="http://schemas.microsoft.com/office/drawing/2014/main" id="{A15F0174-E129-911D-4939-6D7984A21846}"/>
                  </a:ext>
                </a:extLst>
              </p:cNvPr>
              <p:cNvSpPr>
                <a:spLocks/>
              </p:cNvSpPr>
              <p:nvPr/>
            </p:nvSpPr>
            <p:spPr bwMode="auto">
              <a:xfrm>
                <a:off x="5646738" y="2889250"/>
                <a:ext cx="898525" cy="1192213"/>
              </a:xfrm>
              <a:custGeom>
                <a:avLst/>
                <a:gdLst>
                  <a:gd name="connsiteX0" fmla="*/ 625475 w 898525"/>
                  <a:gd name="connsiteY0" fmla="*/ 0 h 1192213"/>
                  <a:gd name="connsiteX1" fmla="*/ 882800 w 898525"/>
                  <a:gd name="connsiteY1" fmla="*/ 0 h 1192213"/>
                  <a:gd name="connsiteX2" fmla="*/ 898525 w 898525"/>
                  <a:gd name="connsiteY2" fmla="*/ 15701 h 1192213"/>
                  <a:gd name="connsiteX3" fmla="*/ 898525 w 898525"/>
                  <a:gd name="connsiteY3" fmla="*/ 835025 h 1192213"/>
                  <a:gd name="connsiteX4" fmla="*/ 867074 w 898525"/>
                  <a:gd name="connsiteY4" fmla="*/ 823606 h 1192213"/>
                  <a:gd name="connsiteX5" fmla="*/ 867074 w 898525"/>
                  <a:gd name="connsiteY5" fmla="*/ 31403 h 1192213"/>
                  <a:gd name="connsiteX6" fmla="*/ 625475 w 898525"/>
                  <a:gd name="connsiteY6" fmla="*/ 31403 h 1192213"/>
                  <a:gd name="connsiteX7" fmla="*/ 625475 w 898525"/>
                  <a:gd name="connsiteY7" fmla="*/ 0 h 1192213"/>
                  <a:gd name="connsiteX8" fmla="*/ 15734 w 898525"/>
                  <a:gd name="connsiteY8" fmla="*/ 0 h 1192213"/>
                  <a:gd name="connsiteX9" fmla="*/ 273195 w 898525"/>
                  <a:gd name="connsiteY9" fmla="*/ 0 h 1192213"/>
                  <a:gd name="connsiteX10" fmla="*/ 273195 w 898525"/>
                  <a:gd name="connsiteY10" fmla="*/ 31412 h 1192213"/>
                  <a:gd name="connsiteX11" fmla="*/ 31468 w 898525"/>
                  <a:gd name="connsiteY11" fmla="*/ 31412 h 1192213"/>
                  <a:gd name="connsiteX12" fmla="*/ 31468 w 898525"/>
                  <a:gd name="connsiteY12" fmla="*/ 1160802 h 1192213"/>
                  <a:gd name="connsiteX13" fmla="*/ 618622 w 898525"/>
                  <a:gd name="connsiteY13" fmla="*/ 1160802 h 1192213"/>
                  <a:gd name="connsiteX14" fmla="*/ 642938 w 898525"/>
                  <a:gd name="connsiteY14" fmla="*/ 1192213 h 1192213"/>
                  <a:gd name="connsiteX15" fmla="*/ 15734 w 898525"/>
                  <a:gd name="connsiteY15" fmla="*/ 1192213 h 1192213"/>
                  <a:gd name="connsiteX16" fmla="*/ 0 w 898525"/>
                  <a:gd name="connsiteY16" fmla="*/ 1176507 h 1192213"/>
                  <a:gd name="connsiteX17" fmla="*/ 0 w 898525"/>
                  <a:gd name="connsiteY17" fmla="*/ 15706 h 1192213"/>
                  <a:gd name="connsiteX18" fmla="*/ 15734 w 898525"/>
                  <a:gd name="connsiteY18"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8525" h="1192213">
                    <a:moveTo>
                      <a:pt x="625475" y="0"/>
                    </a:moveTo>
                    <a:cubicBezTo>
                      <a:pt x="625475" y="0"/>
                      <a:pt x="625475" y="0"/>
                      <a:pt x="882800" y="0"/>
                    </a:cubicBezTo>
                    <a:cubicBezTo>
                      <a:pt x="892092" y="0"/>
                      <a:pt x="898525" y="7137"/>
                      <a:pt x="898525" y="15701"/>
                    </a:cubicBezTo>
                    <a:cubicBezTo>
                      <a:pt x="898525" y="15701"/>
                      <a:pt x="898525" y="15701"/>
                      <a:pt x="898525" y="835025"/>
                    </a:cubicBezTo>
                    <a:cubicBezTo>
                      <a:pt x="888518" y="830743"/>
                      <a:pt x="878511" y="826461"/>
                      <a:pt x="867074" y="823606"/>
                    </a:cubicBezTo>
                    <a:cubicBezTo>
                      <a:pt x="867074" y="823606"/>
                      <a:pt x="867074" y="823606"/>
                      <a:pt x="867074" y="31403"/>
                    </a:cubicBezTo>
                    <a:cubicBezTo>
                      <a:pt x="867074" y="31403"/>
                      <a:pt x="867074" y="31403"/>
                      <a:pt x="625475" y="31403"/>
                    </a:cubicBezTo>
                    <a:cubicBezTo>
                      <a:pt x="625475" y="31403"/>
                      <a:pt x="625475" y="31403"/>
                      <a:pt x="625475" y="0"/>
                    </a:cubicBezTo>
                    <a:close/>
                    <a:moveTo>
                      <a:pt x="15734" y="0"/>
                    </a:moveTo>
                    <a:cubicBezTo>
                      <a:pt x="15734" y="0"/>
                      <a:pt x="15734" y="0"/>
                      <a:pt x="273195" y="0"/>
                    </a:cubicBezTo>
                    <a:cubicBezTo>
                      <a:pt x="273195" y="0"/>
                      <a:pt x="273195" y="0"/>
                      <a:pt x="273195" y="31412"/>
                    </a:cubicBezTo>
                    <a:cubicBezTo>
                      <a:pt x="273195" y="31412"/>
                      <a:pt x="273195" y="31412"/>
                      <a:pt x="31468" y="31412"/>
                    </a:cubicBezTo>
                    <a:cubicBezTo>
                      <a:pt x="31468" y="31412"/>
                      <a:pt x="31468" y="31412"/>
                      <a:pt x="31468" y="1160802"/>
                    </a:cubicBezTo>
                    <a:cubicBezTo>
                      <a:pt x="31468" y="1160802"/>
                      <a:pt x="31468" y="1160802"/>
                      <a:pt x="618622" y="1160802"/>
                    </a:cubicBezTo>
                    <a:cubicBezTo>
                      <a:pt x="625774" y="1172224"/>
                      <a:pt x="633641" y="1182932"/>
                      <a:pt x="642938" y="1192213"/>
                    </a:cubicBezTo>
                    <a:cubicBezTo>
                      <a:pt x="642938" y="1192213"/>
                      <a:pt x="642938" y="1192213"/>
                      <a:pt x="15734" y="1192213"/>
                    </a:cubicBezTo>
                    <a:cubicBezTo>
                      <a:pt x="6437" y="1192213"/>
                      <a:pt x="0" y="1185788"/>
                      <a:pt x="0" y="1176507"/>
                    </a:cubicBezTo>
                    <a:cubicBezTo>
                      <a:pt x="0" y="1176507"/>
                      <a:pt x="0" y="1176507"/>
                      <a:pt x="0" y="15706"/>
                    </a:cubicBezTo>
                    <a:cubicBezTo>
                      <a:pt x="0" y="7139"/>
                      <a:pt x="6437" y="0"/>
                      <a:pt x="15734" y="0"/>
                    </a:cubicBezTo>
                    <a:close/>
                  </a:path>
                </a:pathLst>
              </a:custGeom>
              <a:solidFill>
                <a:srgbClr val="000A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25">
                <a:extLst>
                  <a:ext uri="{FF2B5EF4-FFF2-40B4-BE49-F238E27FC236}">
                    <a16:creationId xmlns:a16="http://schemas.microsoft.com/office/drawing/2014/main" id="{5D1079FC-7814-95D5-0972-4D6DF6B41D7B}"/>
                  </a:ext>
                </a:extLst>
              </p:cNvPr>
              <p:cNvSpPr>
                <a:spLocks/>
              </p:cNvSpPr>
              <p:nvPr/>
            </p:nvSpPr>
            <p:spPr bwMode="auto">
              <a:xfrm>
                <a:off x="5783263" y="2774950"/>
                <a:ext cx="863026" cy="1346201"/>
              </a:xfrm>
              <a:custGeom>
                <a:avLst/>
                <a:gdLst>
                  <a:gd name="connsiteX0" fmla="*/ 789902 w 863026"/>
                  <a:gd name="connsiteY0" fmla="*/ 1074664 h 1346201"/>
                  <a:gd name="connsiteX1" fmla="*/ 778541 w 863026"/>
                  <a:gd name="connsiteY1" fmla="*/ 1078848 h 1346201"/>
                  <a:gd name="connsiteX2" fmla="*/ 762082 w 863026"/>
                  <a:gd name="connsiteY2" fmla="*/ 1094518 h 1346201"/>
                  <a:gd name="connsiteX3" fmla="*/ 730596 w 863026"/>
                  <a:gd name="connsiteY3" fmla="*/ 1124433 h 1346201"/>
                  <a:gd name="connsiteX4" fmla="*/ 627548 w 863026"/>
                  <a:gd name="connsiteY4" fmla="*/ 1223437 h 1346201"/>
                  <a:gd name="connsiteX5" fmla="*/ 558850 w 863026"/>
                  <a:gd name="connsiteY5" fmla="*/ 1155060 h 1346201"/>
                  <a:gd name="connsiteX6" fmla="*/ 536666 w 863026"/>
                  <a:gd name="connsiteY6" fmla="*/ 1155060 h 1346201"/>
                  <a:gd name="connsiteX7" fmla="*/ 536666 w 863026"/>
                  <a:gd name="connsiteY7" fmla="*/ 1177140 h 1346201"/>
                  <a:gd name="connsiteX8" fmla="*/ 616098 w 863026"/>
                  <a:gd name="connsiteY8" fmla="*/ 1256202 h 1346201"/>
                  <a:gd name="connsiteX9" fmla="*/ 626832 w 863026"/>
                  <a:gd name="connsiteY9" fmla="*/ 1260475 h 1346201"/>
                  <a:gd name="connsiteX10" fmla="*/ 637567 w 863026"/>
                  <a:gd name="connsiteY10" fmla="*/ 1256202 h 1346201"/>
                  <a:gd name="connsiteX11" fmla="*/ 730596 w 863026"/>
                  <a:gd name="connsiteY11" fmla="*/ 1167881 h 1346201"/>
                  <a:gd name="connsiteX12" fmla="*/ 762082 w 863026"/>
                  <a:gd name="connsiteY12" fmla="*/ 1137966 h 1346201"/>
                  <a:gd name="connsiteX13" fmla="*/ 800010 w 863026"/>
                  <a:gd name="connsiteY13" fmla="*/ 1101641 h 1346201"/>
                  <a:gd name="connsiteX14" fmla="*/ 800725 w 863026"/>
                  <a:gd name="connsiteY14" fmla="*/ 1079560 h 1346201"/>
                  <a:gd name="connsiteX15" fmla="*/ 789902 w 863026"/>
                  <a:gd name="connsiteY15" fmla="*/ 1074664 h 1346201"/>
                  <a:gd name="connsiteX16" fmla="*/ 15705 w 863026"/>
                  <a:gd name="connsiteY16" fmla="*/ 1057275 h 1346201"/>
                  <a:gd name="connsiteX17" fmla="*/ 468313 w 863026"/>
                  <a:gd name="connsiteY17" fmla="*/ 1057275 h 1346201"/>
                  <a:gd name="connsiteX18" fmla="*/ 456177 w 863026"/>
                  <a:gd name="connsiteY18" fmla="*/ 1089025 h 1346201"/>
                  <a:gd name="connsiteX19" fmla="*/ 15705 w 863026"/>
                  <a:gd name="connsiteY19" fmla="*/ 1089025 h 1346201"/>
                  <a:gd name="connsiteX20" fmla="*/ 0 w 863026"/>
                  <a:gd name="connsiteY20" fmla="*/ 1073150 h 1346201"/>
                  <a:gd name="connsiteX21" fmla="*/ 15705 w 863026"/>
                  <a:gd name="connsiteY21" fmla="*/ 1057275 h 1346201"/>
                  <a:gd name="connsiteX22" fmla="*/ 670322 w 863026"/>
                  <a:gd name="connsiteY22" fmla="*/ 960438 h 1346201"/>
                  <a:gd name="connsiteX23" fmla="*/ 731044 w 863026"/>
                  <a:gd name="connsiteY23" fmla="*/ 970439 h 1346201"/>
                  <a:gd name="connsiteX24" fmla="*/ 762477 w 863026"/>
                  <a:gd name="connsiteY24" fmla="*/ 984013 h 1346201"/>
                  <a:gd name="connsiteX25" fmla="*/ 808911 w 863026"/>
                  <a:gd name="connsiteY25" fmla="*/ 1019731 h 1346201"/>
                  <a:gd name="connsiteX26" fmla="*/ 820341 w 863026"/>
                  <a:gd name="connsiteY26" fmla="*/ 1274764 h 1346201"/>
                  <a:gd name="connsiteX27" fmla="*/ 803911 w 863026"/>
                  <a:gd name="connsiteY27" fmla="*/ 1292623 h 1346201"/>
                  <a:gd name="connsiteX28" fmla="*/ 788194 w 863026"/>
                  <a:gd name="connsiteY28" fmla="*/ 1306196 h 1346201"/>
                  <a:gd name="connsiteX29" fmla="*/ 787480 w 863026"/>
                  <a:gd name="connsiteY29" fmla="*/ 1306196 h 1346201"/>
                  <a:gd name="connsiteX30" fmla="*/ 670322 w 863026"/>
                  <a:gd name="connsiteY30" fmla="*/ 1346201 h 1346201"/>
                  <a:gd name="connsiteX31" fmla="*/ 552450 w 863026"/>
                  <a:gd name="connsiteY31" fmla="*/ 1306196 h 1346201"/>
                  <a:gd name="connsiteX32" fmla="*/ 531019 w 863026"/>
                  <a:gd name="connsiteY32" fmla="*/ 1287622 h 1346201"/>
                  <a:gd name="connsiteX33" fmla="*/ 520303 w 863026"/>
                  <a:gd name="connsiteY33" fmla="*/ 1274764 h 1346201"/>
                  <a:gd name="connsiteX34" fmla="*/ 488871 w 863026"/>
                  <a:gd name="connsiteY34" fmla="*/ 1088311 h 1346201"/>
                  <a:gd name="connsiteX35" fmla="*/ 503158 w 863026"/>
                  <a:gd name="connsiteY35" fmla="*/ 1056879 h 1346201"/>
                  <a:gd name="connsiteX36" fmla="*/ 536734 w 863026"/>
                  <a:gd name="connsiteY36" fmla="*/ 1014731 h 1346201"/>
                  <a:gd name="connsiteX37" fmla="*/ 603885 w 863026"/>
                  <a:gd name="connsiteY37" fmla="*/ 972583 h 1346201"/>
                  <a:gd name="connsiteX38" fmla="*/ 623888 w 863026"/>
                  <a:gd name="connsiteY38" fmla="*/ 966153 h 1346201"/>
                  <a:gd name="connsiteX39" fmla="*/ 670322 w 863026"/>
                  <a:gd name="connsiteY39" fmla="*/ 960438 h 1346201"/>
                  <a:gd name="connsiteX40" fmla="*/ 15693 w 863026"/>
                  <a:gd name="connsiteY40" fmla="*/ 941388 h 1346201"/>
                  <a:gd name="connsiteX41" fmla="*/ 598488 w 863026"/>
                  <a:gd name="connsiteY41" fmla="*/ 941388 h 1346201"/>
                  <a:gd name="connsiteX42" fmla="*/ 537855 w 863026"/>
                  <a:gd name="connsiteY42" fmla="*/ 973138 h 1346201"/>
                  <a:gd name="connsiteX43" fmla="*/ 15693 w 863026"/>
                  <a:gd name="connsiteY43" fmla="*/ 973138 h 1346201"/>
                  <a:gd name="connsiteX44" fmla="*/ 0 w 863026"/>
                  <a:gd name="connsiteY44" fmla="*/ 957263 h 1346201"/>
                  <a:gd name="connsiteX45" fmla="*/ 15693 w 863026"/>
                  <a:gd name="connsiteY45" fmla="*/ 941388 h 1346201"/>
                  <a:gd name="connsiteX46" fmla="*/ 15712 w 863026"/>
                  <a:gd name="connsiteY46" fmla="*/ 825500 h 1346201"/>
                  <a:gd name="connsiteX47" fmla="*/ 611351 w 863026"/>
                  <a:gd name="connsiteY47" fmla="*/ 825500 h 1346201"/>
                  <a:gd name="connsiteX48" fmla="*/ 627063 w 863026"/>
                  <a:gd name="connsiteY48" fmla="*/ 841375 h 1346201"/>
                  <a:gd name="connsiteX49" fmla="*/ 611351 w 863026"/>
                  <a:gd name="connsiteY49" fmla="*/ 857250 h 1346201"/>
                  <a:gd name="connsiteX50" fmla="*/ 15712 w 863026"/>
                  <a:gd name="connsiteY50" fmla="*/ 857250 h 1346201"/>
                  <a:gd name="connsiteX51" fmla="*/ 0 w 863026"/>
                  <a:gd name="connsiteY51" fmla="*/ 841375 h 1346201"/>
                  <a:gd name="connsiteX52" fmla="*/ 15712 w 863026"/>
                  <a:gd name="connsiteY52" fmla="*/ 825500 h 1346201"/>
                  <a:gd name="connsiteX53" fmla="*/ 15712 w 863026"/>
                  <a:gd name="connsiteY53" fmla="*/ 709613 h 1346201"/>
                  <a:gd name="connsiteX54" fmla="*/ 611351 w 863026"/>
                  <a:gd name="connsiteY54" fmla="*/ 709613 h 1346201"/>
                  <a:gd name="connsiteX55" fmla="*/ 627063 w 863026"/>
                  <a:gd name="connsiteY55" fmla="*/ 725488 h 1346201"/>
                  <a:gd name="connsiteX56" fmla="*/ 611351 w 863026"/>
                  <a:gd name="connsiteY56" fmla="*/ 741363 h 1346201"/>
                  <a:gd name="connsiteX57" fmla="*/ 15712 w 863026"/>
                  <a:gd name="connsiteY57" fmla="*/ 741363 h 1346201"/>
                  <a:gd name="connsiteX58" fmla="*/ 0 w 863026"/>
                  <a:gd name="connsiteY58" fmla="*/ 725488 h 1346201"/>
                  <a:gd name="connsiteX59" fmla="*/ 15712 w 863026"/>
                  <a:gd name="connsiteY59" fmla="*/ 709613 h 1346201"/>
                  <a:gd name="connsiteX60" fmla="*/ 15712 w 863026"/>
                  <a:gd name="connsiteY60" fmla="*/ 593725 h 1346201"/>
                  <a:gd name="connsiteX61" fmla="*/ 611351 w 863026"/>
                  <a:gd name="connsiteY61" fmla="*/ 593725 h 1346201"/>
                  <a:gd name="connsiteX62" fmla="*/ 627063 w 863026"/>
                  <a:gd name="connsiteY62" fmla="*/ 609600 h 1346201"/>
                  <a:gd name="connsiteX63" fmla="*/ 611351 w 863026"/>
                  <a:gd name="connsiteY63" fmla="*/ 625475 h 1346201"/>
                  <a:gd name="connsiteX64" fmla="*/ 15712 w 863026"/>
                  <a:gd name="connsiteY64" fmla="*/ 625475 h 1346201"/>
                  <a:gd name="connsiteX65" fmla="*/ 0 w 863026"/>
                  <a:gd name="connsiteY65" fmla="*/ 609600 h 1346201"/>
                  <a:gd name="connsiteX66" fmla="*/ 15712 w 863026"/>
                  <a:gd name="connsiteY66" fmla="*/ 593725 h 1346201"/>
                  <a:gd name="connsiteX67" fmla="*/ 15712 w 863026"/>
                  <a:gd name="connsiteY67" fmla="*/ 477838 h 1346201"/>
                  <a:gd name="connsiteX68" fmla="*/ 611351 w 863026"/>
                  <a:gd name="connsiteY68" fmla="*/ 477838 h 1346201"/>
                  <a:gd name="connsiteX69" fmla="*/ 627063 w 863026"/>
                  <a:gd name="connsiteY69" fmla="*/ 493713 h 1346201"/>
                  <a:gd name="connsiteX70" fmla="*/ 611351 w 863026"/>
                  <a:gd name="connsiteY70" fmla="*/ 509588 h 1346201"/>
                  <a:gd name="connsiteX71" fmla="*/ 15712 w 863026"/>
                  <a:gd name="connsiteY71" fmla="*/ 509588 h 1346201"/>
                  <a:gd name="connsiteX72" fmla="*/ 0 w 863026"/>
                  <a:gd name="connsiteY72" fmla="*/ 493713 h 1346201"/>
                  <a:gd name="connsiteX73" fmla="*/ 15712 w 863026"/>
                  <a:gd name="connsiteY73" fmla="*/ 477838 h 1346201"/>
                  <a:gd name="connsiteX74" fmla="*/ 15712 w 863026"/>
                  <a:gd name="connsiteY74" fmla="*/ 361950 h 1346201"/>
                  <a:gd name="connsiteX75" fmla="*/ 611351 w 863026"/>
                  <a:gd name="connsiteY75" fmla="*/ 361950 h 1346201"/>
                  <a:gd name="connsiteX76" fmla="*/ 627063 w 863026"/>
                  <a:gd name="connsiteY76" fmla="*/ 377825 h 1346201"/>
                  <a:gd name="connsiteX77" fmla="*/ 611351 w 863026"/>
                  <a:gd name="connsiteY77" fmla="*/ 393700 h 1346201"/>
                  <a:gd name="connsiteX78" fmla="*/ 15712 w 863026"/>
                  <a:gd name="connsiteY78" fmla="*/ 393700 h 1346201"/>
                  <a:gd name="connsiteX79" fmla="*/ 0 w 863026"/>
                  <a:gd name="connsiteY79" fmla="*/ 377825 h 1346201"/>
                  <a:gd name="connsiteX80" fmla="*/ 15712 w 863026"/>
                  <a:gd name="connsiteY80" fmla="*/ 361950 h 1346201"/>
                  <a:gd name="connsiteX81" fmla="*/ 312738 w 863026"/>
                  <a:gd name="connsiteY81" fmla="*/ 31750 h 1346201"/>
                  <a:gd name="connsiteX82" fmla="*/ 290655 w 863026"/>
                  <a:gd name="connsiteY82" fmla="*/ 35314 h 1346201"/>
                  <a:gd name="connsiteX83" fmla="*/ 257175 w 863026"/>
                  <a:gd name="connsiteY83" fmla="*/ 66675 h 1346201"/>
                  <a:gd name="connsiteX84" fmla="*/ 368300 w 863026"/>
                  <a:gd name="connsiteY84" fmla="*/ 66675 h 1346201"/>
                  <a:gd name="connsiteX85" fmla="*/ 334820 w 863026"/>
                  <a:gd name="connsiteY85" fmla="*/ 35314 h 1346201"/>
                  <a:gd name="connsiteX86" fmla="*/ 312738 w 863026"/>
                  <a:gd name="connsiteY86" fmla="*/ 31750 h 1346201"/>
                  <a:gd name="connsiteX87" fmla="*/ 312737 w 863026"/>
                  <a:gd name="connsiteY87" fmla="*/ 0 h 1346201"/>
                  <a:gd name="connsiteX88" fmla="*/ 385762 w 863026"/>
                  <a:gd name="connsiteY88" fmla="*/ 34890 h 1346201"/>
                  <a:gd name="connsiteX89" fmla="*/ 402229 w 863026"/>
                  <a:gd name="connsiteY89" fmla="*/ 66220 h 1346201"/>
                  <a:gd name="connsiteX90" fmla="*/ 451628 w 863026"/>
                  <a:gd name="connsiteY90" fmla="*/ 66220 h 1346201"/>
                  <a:gd name="connsiteX91" fmla="*/ 458787 w 863026"/>
                  <a:gd name="connsiteY91" fmla="*/ 73340 h 1346201"/>
                  <a:gd name="connsiteX92" fmla="*/ 458787 w 863026"/>
                  <a:gd name="connsiteY92" fmla="*/ 113927 h 1346201"/>
                  <a:gd name="connsiteX93" fmla="*/ 458787 w 863026"/>
                  <a:gd name="connsiteY93" fmla="*/ 145256 h 1346201"/>
                  <a:gd name="connsiteX94" fmla="*/ 458787 w 863026"/>
                  <a:gd name="connsiteY94" fmla="*/ 178010 h 1346201"/>
                  <a:gd name="connsiteX95" fmla="*/ 443037 w 863026"/>
                  <a:gd name="connsiteY95" fmla="*/ 193675 h 1346201"/>
                  <a:gd name="connsiteX96" fmla="*/ 182438 w 863026"/>
                  <a:gd name="connsiteY96" fmla="*/ 193675 h 1346201"/>
                  <a:gd name="connsiteX97" fmla="*/ 166687 w 863026"/>
                  <a:gd name="connsiteY97" fmla="*/ 178010 h 1346201"/>
                  <a:gd name="connsiteX98" fmla="*/ 166687 w 863026"/>
                  <a:gd name="connsiteY98" fmla="*/ 145256 h 1346201"/>
                  <a:gd name="connsiteX99" fmla="*/ 166687 w 863026"/>
                  <a:gd name="connsiteY99" fmla="*/ 113927 h 1346201"/>
                  <a:gd name="connsiteX100" fmla="*/ 166687 w 863026"/>
                  <a:gd name="connsiteY100" fmla="*/ 73340 h 1346201"/>
                  <a:gd name="connsiteX101" fmla="*/ 173847 w 863026"/>
                  <a:gd name="connsiteY101" fmla="*/ 66220 h 1346201"/>
                  <a:gd name="connsiteX102" fmla="*/ 223246 w 863026"/>
                  <a:gd name="connsiteY102" fmla="*/ 66220 h 1346201"/>
                  <a:gd name="connsiteX103" fmla="*/ 239712 w 863026"/>
                  <a:gd name="connsiteY103" fmla="*/ 34890 h 1346201"/>
                  <a:gd name="connsiteX104" fmla="*/ 312737 w 863026"/>
                  <a:gd name="connsiteY104" fmla="*/ 0 h 134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863026" h="1346201">
                    <a:moveTo>
                      <a:pt x="789902" y="1074664"/>
                    </a:moveTo>
                    <a:cubicBezTo>
                      <a:pt x="785876" y="1074575"/>
                      <a:pt x="781761" y="1075999"/>
                      <a:pt x="778541" y="1078848"/>
                    </a:cubicBezTo>
                    <a:cubicBezTo>
                      <a:pt x="778541" y="1078848"/>
                      <a:pt x="778541" y="1078848"/>
                      <a:pt x="762082" y="1094518"/>
                    </a:cubicBezTo>
                    <a:cubicBezTo>
                      <a:pt x="762082" y="1094518"/>
                      <a:pt x="762082" y="1094518"/>
                      <a:pt x="730596" y="1124433"/>
                    </a:cubicBezTo>
                    <a:cubicBezTo>
                      <a:pt x="730596" y="1124433"/>
                      <a:pt x="730596" y="1124433"/>
                      <a:pt x="627548" y="1223437"/>
                    </a:cubicBezTo>
                    <a:cubicBezTo>
                      <a:pt x="627548" y="1223437"/>
                      <a:pt x="627548" y="1223437"/>
                      <a:pt x="558850" y="1155060"/>
                    </a:cubicBezTo>
                    <a:cubicBezTo>
                      <a:pt x="552409" y="1148650"/>
                      <a:pt x="542391" y="1148650"/>
                      <a:pt x="536666" y="1155060"/>
                    </a:cubicBezTo>
                    <a:cubicBezTo>
                      <a:pt x="530225" y="1160758"/>
                      <a:pt x="530225" y="1170730"/>
                      <a:pt x="536666" y="1177140"/>
                    </a:cubicBezTo>
                    <a:cubicBezTo>
                      <a:pt x="536666" y="1177140"/>
                      <a:pt x="536666" y="1177140"/>
                      <a:pt x="616098" y="1256202"/>
                    </a:cubicBezTo>
                    <a:cubicBezTo>
                      <a:pt x="618961" y="1259051"/>
                      <a:pt x="623254" y="1260475"/>
                      <a:pt x="626832" y="1260475"/>
                    </a:cubicBezTo>
                    <a:cubicBezTo>
                      <a:pt x="631126" y="1260475"/>
                      <a:pt x="634704" y="1259051"/>
                      <a:pt x="637567" y="1256202"/>
                    </a:cubicBezTo>
                    <a:cubicBezTo>
                      <a:pt x="637567" y="1256202"/>
                      <a:pt x="637567" y="1256202"/>
                      <a:pt x="730596" y="1167881"/>
                    </a:cubicBezTo>
                    <a:cubicBezTo>
                      <a:pt x="730596" y="1167881"/>
                      <a:pt x="730596" y="1167881"/>
                      <a:pt x="762082" y="1137966"/>
                    </a:cubicBezTo>
                    <a:cubicBezTo>
                      <a:pt x="762082" y="1137966"/>
                      <a:pt x="762082" y="1137966"/>
                      <a:pt x="800010" y="1101641"/>
                    </a:cubicBezTo>
                    <a:cubicBezTo>
                      <a:pt x="806450" y="1095943"/>
                      <a:pt x="806450" y="1085971"/>
                      <a:pt x="800725" y="1079560"/>
                    </a:cubicBezTo>
                    <a:cubicBezTo>
                      <a:pt x="797863" y="1076355"/>
                      <a:pt x="793927" y="1074753"/>
                      <a:pt x="789902" y="1074664"/>
                    </a:cubicBezTo>
                    <a:close/>
                    <a:moveTo>
                      <a:pt x="15705" y="1057275"/>
                    </a:moveTo>
                    <a:cubicBezTo>
                      <a:pt x="15705" y="1057275"/>
                      <a:pt x="15705" y="1057275"/>
                      <a:pt x="468313" y="1057275"/>
                    </a:cubicBezTo>
                    <a:cubicBezTo>
                      <a:pt x="463316" y="1067377"/>
                      <a:pt x="459032" y="1078201"/>
                      <a:pt x="456177" y="1089025"/>
                    </a:cubicBezTo>
                    <a:cubicBezTo>
                      <a:pt x="456177" y="1089025"/>
                      <a:pt x="456177" y="1089025"/>
                      <a:pt x="15705" y="1089025"/>
                    </a:cubicBezTo>
                    <a:cubicBezTo>
                      <a:pt x="6425" y="1089025"/>
                      <a:pt x="0" y="1081809"/>
                      <a:pt x="0" y="1073150"/>
                    </a:cubicBezTo>
                    <a:cubicBezTo>
                      <a:pt x="0" y="1064491"/>
                      <a:pt x="6425" y="1057275"/>
                      <a:pt x="15705" y="1057275"/>
                    </a:cubicBezTo>
                    <a:close/>
                    <a:moveTo>
                      <a:pt x="670322" y="960438"/>
                    </a:moveTo>
                    <a:cubicBezTo>
                      <a:pt x="691039" y="960438"/>
                      <a:pt x="711756" y="964010"/>
                      <a:pt x="731044" y="970439"/>
                    </a:cubicBezTo>
                    <a:cubicBezTo>
                      <a:pt x="742474" y="974011"/>
                      <a:pt x="752476" y="979012"/>
                      <a:pt x="762477" y="984013"/>
                    </a:cubicBezTo>
                    <a:cubicBezTo>
                      <a:pt x="779622" y="993299"/>
                      <a:pt x="795338" y="1005444"/>
                      <a:pt x="808911" y="1019731"/>
                    </a:cubicBezTo>
                    <a:cubicBezTo>
                      <a:pt x="876777" y="1089740"/>
                      <a:pt x="881063" y="1199754"/>
                      <a:pt x="820341" y="1274764"/>
                    </a:cubicBezTo>
                    <a:cubicBezTo>
                      <a:pt x="815341" y="1281193"/>
                      <a:pt x="809626" y="1286908"/>
                      <a:pt x="803911" y="1292623"/>
                    </a:cubicBezTo>
                    <a:cubicBezTo>
                      <a:pt x="797481" y="1298338"/>
                      <a:pt x="793195" y="1302624"/>
                      <a:pt x="788194" y="1306196"/>
                    </a:cubicBezTo>
                    <a:cubicBezTo>
                      <a:pt x="788194" y="1306196"/>
                      <a:pt x="788194" y="1306196"/>
                      <a:pt x="787480" y="1306196"/>
                    </a:cubicBezTo>
                    <a:cubicBezTo>
                      <a:pt x="754619" y="1331914"/>
                      <a:pt x="712471" y="1346201"/>
                      <a:pt x="670322" y="1346201"/>
                    </a:cubicBezTo>
                    <a:cubicBezTo>
                      <a:pt x="626745" y="1346201"/>
                      <a:pt x="586026" y="1332628"/>
                      <a:pt x="552450" y="1306196"/>
                    </a:cubicBezTo>
                    <a:cubicBezTo>
                      <a:pt x="545307" y="1300481"/>
                      <a:pt x="538163" y="1294052"/>
                      <a:pt x="531019" y="1287622"/>
                    </a:cubicBezTo>
                    <a:cubicBezTo>
                      <a:pt x="527447" y="1283336"/>
                      <a:pt x="523875" y="1279050"/>
                      <a:pt x="520303" y="1274764"/>
                    </a:cubicBezTo>
                    <a:cubicBezTo>
                      <a:pt x="476727" y="1221900"/>
                      <a:pt x="466725" y="1150462"/>
                      <a:pt x="488871" y="1088311"/>
                    </a:cubicBezTo>
                    <a:cubicBezTo>
                      <a:pt x="492443" y="1077596"/>
                      <a:pt x="497443" y="1066880"/>
                      <a:pt x="503158" y="1056879"/>
                    </a:cubicBezTo>
                    <a:cubicBezTo>
                      <a:pt x="512445" y="1041877"/>
                      <a:pt x="523161" y="1027589"/>
                      <a:pt x="536734" y="1014731"/>
                    </a:cubicBezTo>
                    <a:cubicBezTo>
                      <a:pt x="556022" y="995443"/>
                      <a:pt x="578882" y="981155"/>
                      <a:pt x="603885" y="972583"/>
                    </a:cubicBezTo>
                    <a:cubicBezTo>
                      <a:pt x="610315" y="969725"/>
                      <a:pt x="616744" y="968296"/>
                      <a:pt x="623888" y="966153"/>
                    </a:cubicBezTo>
                    <a:cubicBezTo>
                      <a:pt x="638890" y="962581"/>
                      <a:pt x="654606" y="960438"/>
                      <a:pt x="670322" y="960438"/>
                    </a:cubicBezTo>
                    <a:close/>
                    <a:moveTo>
                      <a:pt x="15693" y="941388"/>
                    </a:moveTo>
                    <a:cubicBezTo>
                      <a:pt x="15693" y="941388"/>
                      <a:pt x="15693" y="941388"/>
                      <a:pt x="598488" y="941388"/>
                    </a:cubicBezTo>
                    <a:cubicBezTo>
                      <a:pt x="576375" y="948604"/>
                      <a:pt x="556401" y="959428"/>
                      <a:pt x="537855" y="973138"/>
                    </a:cubicBezTo>
                    <a:cubicBezTo>
                      <a:pt x="537855" y="973138"/>
                      <a:pt x="537855" y="973138"/>
                      <a:pt x="15693" y="973138"/>
                    </a:cubicBezTo>
                    <a:cubicBezTo>
                      <a:pt x="6420" y="973138"/>
                      <a:pt x="0" y="965922"/>
                      <a:pt x="0" y="957263"/>
                    </a:cubicBezTo>
                    <a:cubicBezTo>
                      <a:pt x="0" y="948604"/>
                      <a:pt x="6420" y="941388"/>
                      <a:pt x="15693" y="941388"/>
                    </a:cubicBezTo>
                    <a:close/>
                    <a:moveTo>
                      <a:pt x="15712" y="825500"/>
                    </a:moveTo>
                    <a:cubicBezTo>
                      <a:pt x="15712" y="825500"/>
                      <a:pt x="15712" y="825500"/>
                      <a:pt x="611351" y="825500"/>
                    </a:cubicBezTo>
                    <a:cubicBezTo>
                      <a:pt x="620635" y="825500"/>
                      <a:pt x="627063" y="832716"/>
                      <a:pt x="627063" y="841375"/>
                    </a:cubicBezTo>
                    <a:cubicBezTo>
                      <a:pt x="627063" y="850756"/>
                      <a:pt x="620635" y="857250"/>
                      <a:pt x="611351" y="857250"/>
                    </a:cubicBezTo>
                    <a:cubicBezTo>
                      <a:pt x="611351" y="857250"/>
                      <a:pt x="611351" y="857250"/>
                      <a:pt x="15712" y="857250"/>
                    </a:cubicBezTo>
                    <a:cubicBezTo>
                      <a:pt x="6428" y="857250"/>
                      <a:pt x="0" y="850756"/>
                      <a:pt x="0" y="841375"/>
                    </a:cubicBezTo>
                    <a:cubicBezTo>
                      <a:pt x="0" y="832716"/>
                      <a:pt x="6428" y="825500"/>
                      <a:pt x="15712" y="825500"/>
                    </a:cubicBezTo>
                    <a:close/>
                    <a:moveTo>
                      <a:pt x="15712" y="709613"/>
                    </a:moveTo>
                    <a:cubicBezTo>
                      <a:pt x="15712" y="709613"/>
                      <a:pt x="15712" y="709613"/>
                      <a:pt x="611351" y="709613"/>
                    </a:cubicBezTo>
                    <a:cubicBezTo>
                      <a:pt x="620635" y="709613"/>
                      <a:pt x="627063" y="716829"/>
                      <a:pt x="627063" y="725488"/>
                    </a:cubicBezTo>
                    <a:cubicBezTo>
                      <a:pt x="627063" y="734147"/>
                      <a:pt x="620635" y="741363"/>
                      <a:pt x="611351" y="741363"/>
                    </a:cubicBezTo>
                    <a:cubicBezTo>
                      <a:pt x="611351" y="741363"/>
                      <a:pt x="611351" y="741363"/>
                      <a:pt x="15712" y="741363"/>
                    </a:cubicBezTo>
                    <a:cubicBezTo>
                      <a:pt x="6428" y="741363"/>
                      <a:pt x="0" y="734147"/>
                      <a:pt x="0" y="725488"/>
                    </a:cubicBezTo>
                    <a:cubicBezTo>
                      <a:pt x="0" y="716829"/>
                      <a:pt x="6428" y="709613"/>
                      <a:pt x="15712" y="709613"/>
                    </a:cubicBezTo>
                    <a:close/>
                    <a:moveTo>
                      <a:pt x="15712" y="593725"/>
                    </a:moveTo>
                    <a:cubicBezTo>
                      <a:pt x="15712" y="593725"/>
                      <a:pt x="15712" y="593725"/>
                      <a:pt x="611351" y="593725"/>
                    </a:cubicBezTo>
                    <a:cubicBezTo>
                      <a:pt x="620635" y="593725"/>
                      <a:pt x="627063" y="600941"/>
                      <a:pt x="627063" y="609600"/>
                    </a:cubicBezTo>
                    <a:cubicBezTo>
                      <a:pt x="627063" y="618259"/>
                      <a:pt x="620635" y="625475"/>
                      <a:pt x="611351" y="625475"/>
                    </a:cubicBezTo>
                    <a:cubicBezTo>
                      <a:pt x="611351" y="625475"/>
                      <a:pt x="611351" y="625475"/>
                      <a:pt x="15712" y="625475"/>
                    </a:cubicBezTo>
                    <a:cubicBezTo>
                      <a:pt x="6428" y="625475"/>
                      <a:pt x="0" y="618259"/>
                      <a:pt x="0" y="609600"/>
                    </a:cubicBezTo>
                    <a:cubicBezTo>
                      <a:pt x="0" y="600941"/>
                      <a:pt x="6428" y="593725"/>
                      <a:pt x="15712" y="593725"/>
                    </a:cubicBezTo>
                    <a:close/>
                    <a:moveTo>
                      <a:pt x="15712" y="477838"/>
                    </a:moveTo>
                    <a:cubicBezTo>
                      <a:pt x="15712" y="477838"/>
                      <a:pt x="15712" y="477838"/>
                      <a:pt x="611351" y="477838"/>
                    </a:cubicBezTo>
                    <a:cubicBezTo>
                      <a:pt x="620635" y="477838"/>
                      <a:pt x="627063" y="484332"/>
                      <a:pt x="627063" y="493713"/>
                    </a:cubicBezTo>
                    <a:cubicBezTo>
                      <a:pt x="627063" y="502372"/>
                      <a:pt x="620635" y="509588"/>
                      <a:pt x="611351" y="509588"/>
                    </a:cubicBezTo>
                    <a:cubicBezTo>
                      <a:pt x="611351" y="509588"/>
                      <a:pt x="611351" y="509588"/>
                      <a:pt x="15712" y="509588"/>
                    </a:cubicBezTo>
                    <a:cubicBezTo>
                      <a:pt x="6428" y="509588"/>
                      <a:pt x="0" y="502372"/>
                      <a:pt x="0" y="493713"/>
                    </a:cubicBezTo>
                    <a:cubicBezTo>
                      <a:pt x="0" y="484332"/>
                      <a:pt x="6428" y="477838"/>
                      <a:pt x="15712" y="477838"/>
                    </a:cubicBezTo>
                    <a:close/>
                    <a:moveTo>
                      <a:pt x="15712" y="361950"/>
                    </a:moveTo>
                    <a:cubicBezTo>
                      <a:pt x="15712" y="361950"/>
                      <a:pt x="15712" y="361950"/>
                      <a:pt x="611351" y="361950"/>
                    </a:cubicBezTo>
                    <a:cubicBezTo>
                      <a:pt x="620635" y="361950"/>
                      <a:pt x="627063" y="369166"/>
                      <a:pt x="627063" y="377825"/>
                    </a:cubicBezTo>
                    <a:cubicBezTo>
                      <a:pt x="627063" y="386484"/>
                      <a:pt x="620635" y="393700"/>
                      <a:pt x="611351" y="393700"/>
                    </a:cubicBezTo>
                    <a:cubicBezTo>
                      <a:pt x="611351" y="393700"/>
                      <a:pt x="611351" y="393700"/>
                      <a:pt x="15712" y="393700"/>
                    </a:cubicBezTo>
                    <a:cubicBezTo>
                      <a:pt x="6428" y="393700"/>
                      <a:pt x="0" y="386484"/>
                      <a:pt x="0" y="377825"/>
                    </a:cubicBezTo>
                    <a:cubicBezTo>
                      <a:pt x="0" y="369166"/>
                      <a:pt x="6428" y="361950"/>
                      <a:pt x="15712" y="361950"/>
                    </a:cubicBezTo>
                    <a:close/>
                    <a:moveTo>
                      <a:pt x="312738" y="31750"/>
                    </a:moveTo>
                    <a:cubicBezTo>
                      <a:pt x="304902" y="31750"/>
                      <a:pt x="297779" y="33176"/>
                      <a:pt x="290655" y="35314"/>
                    </a:cubicBezTo>
                    <a:cubicBezTo>
                      <a:pt x="276408" y="41016"/>
                      <a:pt x="264299" y="52420"/>
                      <a:pt x="257175" y="66675"/>
                    </a:cubicBezTo>
                    <a:cubicBezTo>
                      <a:pt x="257175" y="66675"/>
                      <a:pt x="257175" y="66675"/>
                      <a:pt x="368300" y="66675"/>
                    </a:cubicBezTo>
                    <a:cubicBezTo>
                      <a:pt x="361177" y="52420"/>
                      <a:pt x="349067" y="41016"/>
                      <a:pt x="334820" y="35314"/>
                    </a:cubicBezTo>
                    <a:cubicBezTo>
                      <a:pt x="327697" y="33176"/>
                      <a:pt x="320573" y="31750"/>
                      <a:pt x="312738" y="31750"/>
                    </a:cubicBezTo>
                    <a:close/>
                    <a:moveTo>
                      <a:pt x="312737" y="0"/>
                    </a:moveTo>
                    <a:cubicBezTo>
                      <a:pt x="342090" y="0"/>
                      <a:pt x="368580" y="13529"/>
                      <a:pt x="385762" y="34890"/>
                    </a:cubicBezTo>
                    <a:cubicBezTo>
                      <a:pt x="392922" y="44147"/>
                      <a:pt x="398649" y="54827"/>
                      <a:pt x="402229" y="66220"/>
                    </a:cubicBezTo>
                    <a:cubicBezTo>
                      <a:pt x="402229" y="66220"/>
                      <a:pt x="402229" y="66220"/>
                      <a:pt x="451628" y="66220"/>
                    </a:cubicBezTo>
                    <a:cubicBezTo>
                      <a:pt x="455208" y="66220"/>
                      <a:pt x="458787" y="69068"/>
                      <a:pt x="458787" y="73340"/>
                    </a:cubicBezTo>
                    <a:cubicBezTo>
                      <a:pt x="458787" y="73340"/>
                      <a:pt x="458787" y="73340"/>
                      <a:pt x="458787" y="113927"/>
                    </a:cubicBezTo>
                    <a:cubicBezTo>
                      <a:pt x="458787" y="113927"/>
                      <a:pt x="458787" y="113927"/>
                      <a:pt x="458787" y="145256"/>
                    </a:cubicBezTo>
                    <a:cubicBezTo>
                      <a:pt x="458787" y="145256"/>
                      <a:pt x="458787" y="145256"/>
                      <a:pt x="458787" y="178010"/>
                    </a:cubicBezTo>
                    <a:cubicBezTo>
                      <a:pt x="458787" y="186555"/>
                      <a:pt x="451628" y="193675"/>
                      <a:pt x="443037" y="193675"/>
                    </a:cubicBezTo>
                    <a:cubicBezTo>
                      <a:pt x="443037" y="193675"/>
                      <a:pt x="443037" y="193675"/>
                      <a:pt x="182438" y="193675"/>
                    </a:cubicBezTo>
                    <a:cubicBezTo>
                      <a:pt x="173847" y="193675"/>
                      <a:pt x="166687" y="186555"/>
                      <a:pt x="166687" y="178010"/>
                    </a:cubicBezTo>
                    <a:cubicBezTo>
                      <a:pt x="166687" y="178010"/>
                      <a:pt x="166687" y="178010"/>
                      <a:pt x="166687" y="145256"/>
                    </a:cubicBezTo>
                    <a:cubicBezTo>
                      <a:pt x="166687" y="145256"/>
                      <a:pt x="166687" y="145256"/>
                      <a:pt x="166687" y="113927"/>
                    </a:cubicBezTo>
                    <a:cubicBezTo>
                      <a:pt x="166687" y="113927"/>
                      <a:pt x="166687" y="113927"/>
                      <a:pt x="166687" y="73340"/>
                    </a:cubicBezTo>
                    <a:cubicBezTo>
                      <a:pt x="166687" y="69068"/>
                      <a:pt x="170267" y="66220"/>
                      <a:pt x="173847" y="66220"/>
                    </a:cubicBezTo>
                    <a:cubicBezTo>
                      <a:pt x="173847" y="66220"/>
                      <a:pt x="173847" y="66220"/>
                      <a:pt x="223246" y="66220"/>
                    </a:cubicBezTo>
                    <a:cubicBezTo>
                      <a:pt x="226825" y="54827"/>
                      <a:pt x="232553" y="44147"/>
                      <a:pt x="239712" y="34890"/>
                    </a:cubicBezTo>
                    <a:cubicBezTo>
                      <a:pt x="256895" y="13529"/>
                      <a:pt x="283384" y="0"/>
                      <a:pt x="312737" y="0"/>
                    </a:cubicBez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pic>
        <p:nvPicPr>
          <p:cNvPr id="90" name="Graphic 90" descr="Gears with solid fill">
            <a:extLst>
              <a:ext uri="{FF2B5EF4-FFF2-40B4-BE49-F238E27FC236}">
                <a16:creationId xmlns:a16="http://schemas.microsoft.com/office/drawing/2014/main" id="{11A5B5CA-605E-0A6A-AAE0-2609224631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30686" y="1779989"/>
            <a:ext cx="642258" cy="620486"/>
          </a:xfrm>
          <a:prstGeom prst="rect">
            <a:avLst/>
          </a:prstGeom>
        </p:spPr>
      </p:pic>
      <p:sp>
        <p:nvSpPr>
          <p:cNvPr id="92" name="Rectangle 91">
            <a:extLst>
              <a:ext uri="{FF2B5EF4-FFF2-40B4-BE49-F238E27FC236}">
                <a16:creationId xmlns:a16="http://schemas.microsoft.com/office/drawing/2014/main" id="{8A87602E-73EE-63E2-86AC-78B4B376CC97}"/>
              </a:ext>
            </a:extLst>
          </p:cNvPr>
          <p:cNvSpPr/>
          <p:nvPr/>
        </p:nvSpPr>
        <p:spPr>
          <a:xfrm>
            <a:off x="3718144" y="2823044"/>
            <a:ext cx="1751530" cy="2877711"/>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wrap="square" lIns="0" tIns="0" rIns="0" bIns="0" anchor="t">
            <a:spAutoFit/>
          </a:bodyPr>
          <a:lstStyle/>
          <a:p>
            <a:pPr marL="291465" marR="0" lvl="1" indent="-194310" algn="l" defTabSz="914400" rtl="0" eaLnBrk="1" fontAlgn="auto" latinLnBrk="0" hangingPunct="1">
              <a:lnSpc>
                <a:spcPct val="100000"/>
              </a:lnSpc>
              <a:spcBef>
                <a:spcPts val="0"/>
              </a:spcBef>
              <a:spcAft>
                <a:spcPts val="0"/>
              </a:spcAft>
              <a:buClr>
                <a:srgbClr val="002060"/>
              </a:buClr>
              <a:buSzTx/>
              <a:buFont typeface="Trebuchet MS" panose="020B0603020202020204" pitchFamily="34" charset="0"/>
              <a:buChar char="•"/>
              <a:tabLst/>
              <a:defRPr/>
            </a:pPr>
            <a:r>
              <a:rPr kumimoji="0" lang="en-GB" sz="1700" b="0" i="0" u="none" strike="noStrike" kern="1200" cap="none" spc="0" normalizeH="0" baseline="0" noProof="0" dirty="0">
                <a:ln>
                  <a:noFill/>
                </a:ln>
                <a:solidFill>
                  <a:srgbClr val="000000"/>
                </a:solidFill>
                <a:effectLst/>
                <a:uLnTx/>
                <a:uFillTx/>
                <a:ea typeface="Cambria"/>
              </a:rPr>
              <a:t>What </a:t>
            </a:r>
            <a:r>
              <a:rPr kumimoji="0" lang="en-GB" sz="1700" b="1" i="0" u="none" strike="noStrike" kern="1200" cap="none" spc="0" normalizeH="0" baseline="0" noProof="0" dirty="0">
                <a:ln>
                  <a:noFill/>
                </a:ln>
                <a:solidFill>
                  <a:srgbClr val="2E3558"/>
                </a:solidFill>
                <a:effectLst/>
                <a:uLnTx/>
                <a:uFillTx/>
                <a:ea typeface="Cambria"/>
              </a:rPr>
              <a:t>new guidelines </a:t>
            </a:r>
            <a:r>
              <a:rPr kumimoji="0" lang="en-GB" sz="1700" b="0" i="0" u="none" strike="noStrike" kern="1200" cap="none" spc="0" normalizeH="0" baseline="0" noProof="0" dirty="0">
                <a:ln>
                  <a:noFill/>
                </a:ln>
                <a:solidFill>
                  <a:srgbClr val="000000"/>
                </a:solidFill>
                <a:effectLst/>
                <a:uLnTx/>
                <a:uFillTx/>
                <a:ea typeface="Cambria"/>
              </a:rPr>
              <a:t>are needed to fill gaps?</a:t>
            </a:r>
            <a:endParaRPr kumimoji="0" lang="en-US" sz="1700" b="0" i="0" u="none" strike="noStrike" kern="1200" cap="none" spc="0" normalizeH="0" baseline="0" noProof="0" dirty="0">
              <a:ln>
                <a:noFill/>
              </a:ln>
              <a:solidFill>
                <a:srgbClr val="000000"/>
              </a:solidFill>
              <a:effectLst/>
              <a:uLnTx/>
              <a:uFillTx/>
              <a:cs typeface="Calibri" panose="020F0502020204030204"/>
            </a:endParaRPr>
          </a:p>
          <a:p>
            <a:pPr marL="291465" marR="0" lvl="1" indent="-194310" algn="l" defTabSz="914400" rtl="0" eaLnBrk="1" fontAlgn="auto" latinLnBrk="0" hangingPunct="1">
              <a:lnSpc>
                <a:spcPct val="100000"/>
              </a:lnSpc>
              <a:spcBef>
                <a:spcPts val="0"/>
              </a:spcBef>
              <a:spcAft>
                <a:spcPts val="0"/>
              </a:spcAft>
              <a:buClr>
                <a:srgbClr val="002060"/>
              </a:buClr>
              <a:buSzTx/>
              <a:buFont typeface="Trebuchet MS" panose="020B0603020202020204" pitchFamily="34" charset="0"/>
              <a:buChar char="•"/>
              <a:tabLst/>
              <a:defRPr/>
            </a:pPr>
            <a:endParaRPr kumimoji="0" lang="en-GB" sz="1700" b="0" i="0" u="none" strike="noStrike" kern="1200" cap="none" spc="0" normalizeH="0" baseline="0" noProof="0" dirty="0">
              <a:ln>
                <a:noFill/>
              </a:ln>
              <a:solidFill>
                <a:srgbClr val="000000"/>
              </a:solidFill>
              <a:effectLst/>
              <a:uLnTx/>
              <a:uFillTx/>
              <a:ea typeface="Cambria"/>
              <a:cs typeface="Calibri"/>
            </a:endParaRPr>
          </a:p>
          <a:p>
            <a:pPr marL="291465" marR="0" lvl="1" indent="-194310" algn="l" defTabSz="914400" rtl="0" eaLnBrk="1" fontAlgn="auto" latinLnBrk="0" hangingPunct="1">
              <a:lnSpc>
                <a:spcPct val="100000"/>
              </a:lnSpc>
              <a:spcBef>
                <a:spcPts val="0"/>
              </a:spcBef>
              <a:spcAft>
                <a:spcPts val="0"/>
              </a:spcAft>
              <a:buClr>
                <a:srgbClr val="002060"/>
              </a:buClr>
              <a:buSzTx/>
              <a:buFont typeface="Trebuchet MS" panose="020B0603020202020204" pitchFamily="34" charset="0"/>
              <a:buChar char="•"/>
              <a:tabLst/>
              <a:defRPr/>
            </a:pPr>
            <a:r>
              <a:rPr kumimoji="0" lang="en-GB" sz="1700" b="0" i="0" u="none" strike="noStrike" kern="1200" cap="none" spc="0" normalizeH="0" baseline="0" noProof="0" dirty="0">
                <a:ln>
                  <a:noFill/>
                </a:ln>
                <a:solidFill>
                  <a:srgbClr val="000000"/>
                </a:solidFill>
                <a:effectLst/>
                <a:uLnTx/>
                <a:uFillTx/>
                <a:ea typeface="Cambria"/>
                <a:cs typeface="Calibri"/>
              </a:rPr>
              <a:t>Where do guidelines need to be harmonised to </a:t>
            </a:r>
            <a:r>
              <a:rPr kumimoji="0" lang="en-GB" sz="1700" b="1" i="0" u="none" strike="noStrike" kern="1200" cap="none" spc="0" normalizeH="0" baseline="0" noProof="0" dirty="0">
                <a:ln>
                  <a:noFill/>
                </a:ln>
                <a:solidFill>
                  <a:srgbClr val="2E3558"/>
                </a:solidFill>
                <a:effectLst/>
                <a:uLnTx/>
                <a:uFillTx/>
                <a:ea typeface="Cambria"/>
                <a:cs typeface="Calibri"/>
              </a:rPr>
              <a:t>eliminate conflicts</a:t>
            </a:r>
            <a:r>
              <a:rPr kumimoji="0" lang="en-GB" sz="1700" b="0" i="0" u="none" strike="noStrike" kern="1200" cap="none" spc="0" normalizeH="0" baseline="0" noProof="0" dirty="0">
                <a:ln>
                  <a:noFill/>
                </a:ln>
                <a:solidFill>
                  <a:srgbClr val="000000"/>
                </a:solidFill>
                <a:effectLst/>
                <a:uLnTx/>
                <a:uFillTx/>
                <a:ea typeface="Cambria"/>
                <a:cs typeface="Calibri"/>
              </a:rPr>
              <a:t>?</a:t>
            </a:r>
          </a:p>
        </p:txBody>
      </p:sp>
      <p:sp>
        <p:nvSpPr>
          <p:cNvPr id="94" name="Rectangle 93">
            <a:extLst>
              <a:ext uri="{FF2B5EF4-FFF2-40B4-BE49-F238E27FC236}">
                <a16:creationId xmlns:a16="http://schemas.microsoft.com/office/drawing/2014/main" id="{97474557-C17A-9DF0-7AE4-9DB4D089F208}"/>
              </a:ext>
            </a:extLst>
          </p:cNvPr>
          <p:cNvSpPr/>
          <p:nvPr/>
        </p:nvSpPr>
        <p:spPr>
          <a:xfrm>
            <a:off x="6494002" y="2758326"/>
            <a:ext cx="1903950" cy="2877711"/>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wrap="square" lIns="0" tIns="0" rIns="0" bIns="0" anchor="t">
            <a:spAutoFit/>
          </a:bodyPr>
          <a:lstStyle/>
          <a:p>
            <a:pPr marL="291465" marR="0" lvl="1" indent="-194310" algn="l" defTabSz="914400" rtl="0" eaLnBrk="1" fontAlgn="auto" latinLnBrk="0" hangingPunct="1">
              <a:lnSpc>
                <a:spcPct val="100000"/>
              </a:lnSpc>
              <a:spcBef>
                <a:spcPts val="0"/>
              </a:spcBef>
              <a:spcAft>
                <a:spcPts val="0"/>
              </a:spcAft>
              <a:buClr>
                <a:srgbClr val="002060"/>
              </a:buClr>
              <a:buSzTx/>
              <a:buFont typeface="Trebuchet MS" panose="020B0603020202020204" pitchFamily="34" charset="0"/>
              <a:buChar char="•"/>
              <a:tabLst/>
              <a:defRPr/>
            </a:pPr>
            <a:r>
              <a:rPr kumimoji="0" lang="en-GB" sz="1700" b="0" i="0" u="none" strike="noStrike" kern="1200" cap="none" spc="0" normalizeH="0" baseline="0" noProof="0" dirty="0">
                <a:ln>
                  <a:noFill/>
                </a:ln>
                <a:solidFill>
                  <a:srgbClr val="000000"/>
                </a:solidFill>
                <a:effectLst/>
                <a:uLnTx/>
                <a:uFillTx/>
                <a:ea typeface="Cambria"/>
              </a:rPr>
              <a:t>Where is implementation </a:t>
            </a:r>
            <a:r>
              <a:rPr kumimoji="0" lang="en-GB" sz="1700" b="1" i="0" u="none" strike="noStrike" kern="1200" cap="none" spc="0" normalizeH="0" baseline="0" noProof="0" dirty="0">
                <a:ln>
                  <a:noFill/>
                </a:ln>
                <a:solidFill>
                  <a:srgbClr val="2E3558"/>
                </a:solidFill>
                <a:effectLst/>
                <a:uLnTx/>
                <a:uFillTx/>
                <a:ea typeface="Cambria"/>
              </a:rPr>
              <a:t>breaking down or getting stuck</a:t>
            </a:r>
            <a:r>
              <a:rPr kumimoji="0" lang="en-GB" sz="1700" b="0" i="0" u="none" strike="noStrike" kern="1200" cap="none" spc="0" normalizeH="0" baseline="0" noProof="0" dirty="0">
                <a:ln>
                  <a:noFill/>
                </a:ln>
                <a:solidFill>
                  <a:srgbClr val="000000"/>
                </a:solidFill>
                <a:effectLst/>
                <a:uLnTx/>
                <a:uFillTx/>
                <a:ea typeface="Cambria"/>
              </a:rPr>
              <a:t>?</a:t>
            </a:r>
          </a:p>
          <a:p>
            <a:pPr marL="291465" marR="0" lvl="1" indent="-194310" algn="l" defTabSz="914400" rtl="0" eaLnBrk="1" fontAlgn="auto" latinLnBrk="0" hangingPunct="1">
              <a:lnSpc>
                <a:spcPct val="100000"/>
              </a:lnSpc>
              <a:spcBef>
                <a:spcPts val="0"/>
              </a:spcBef>
              <a:spcAft>
                <a:spcPts val="0"/>
              </a:spcAft>
              <a:buClr>
                <a:srgbClr val="002060"/>
              </a:buClr>
              <a:buSzTx/>
              <a:buFont typeface="Trebuchet MS" panose="020B0603020202020204" pitchFamily="34" charset="0"/>
              <a:buChar char="•"/>
              <a:tabLst/>
              <a:defRPr/>
            </a:pPr>
            <a:endParaRPr kumimoji="0" lang="en-GB" sz="1700" b="0" i="0" u="none" strike="noStrike" kern="1200" cap="none" spc="0" normalizeH="0" baseline="0" noProof="0" dirty="0">
              <a:ln>
                <a:noFill/>
              </a:ln>
              <a:solidFill>
                <a:srgbClr val="000000"/>
              </a:solidFill>
              <a:effectLst/>
              <a:uLnTx/>
              <a:uFillTx/>
              <a:ea typeface="Cambria"/>
              <a:cs typeface="Calibri"/>
            </a:endParaRPr>
          </a:p>
          <a:p>
            <a:pPr marL="291465" marR="0" lvl="1" indent="-194310" algn="l" defTabSz="914400" rtl="0" eaLnBrk="1" fontAlgn="auto" latinLnBrk="0" hangingPunct="1">
              <a:lnSpc>
                <a:spcPct val="100000"/>
              </a:lnSpc>
              <a:spcBef>
                <a:spcPts val="0"/>
              </a:spcBef>
              <a:spcAft>
                <a:spcPts val="0"/>
              </a:spcAft>
              <a:buClr>
                <a:srgbClr val="002060"/>
              </a:buClr>
              <a:buSzTx/>
              <a:buFont typeface="Trebuchet MS" panose="020B0603020202020204" pitchFamily="34" charset="0"/>
              <a:buChar char="•"/>
              <a:tabLst/>
              <a:defRPr/>
            </a:pPr>
            <a:r>
              <a:rPr kumimoji="0" lang="en-GB" sz="1700" b="0" i="0" u="none" strike="noStrike" kern="1200" cap="none" spc="0" normalizeH="0" baseline="0" noProof="0" dirty="0">
                <a:ln>
                  <a:noFill/>
                </a:ln>
                <a:solidFill>
                  <a:srgbClr val="000000"/>
                </a:solidFill>
                <a:effectLst/>
                <a:uLnTx/>
                <a:uFillTx/>
                <a:ea typeface="Cambria"/>
                <a:cs typeface="Calibri"/>
              </a:rPr>
              <a:t>What is needed to get evidence-based interventions to </a:t>
            </a:r>
            <a:r>
              <a:rPr kumimoji="0" lang="en-GB" sz="1700" b="1" i="0" u="none" strike="noStrike" kern="1200" cap="none" spc="0" normalizeH="0" baseline="0" noProof="0" dirty="0">
                <a:ln>
                  <a:noFill/>
                </a:ln>
                <a:solidFill>
                  <a:srgbClr val="2E3558"/>
                </a:solidFill>
                <a:effectLst/>
                <a:uLnTx/>
                <a:uFillTx/>
                <a:ea typeface="Cambria"/>
                <a:cs typeface="Calibri"/>
              </a:rPr>
              <a:t>women who need them most</a:t>
            </a:r>
            <a:r>
              <a:rPr kumimoji="0" lang="en-GB" sz="1700" b="0" i="0" u="none" strike="noStrike" kern="1200" cap="none" spc="0" normalizeH="0" baseline="0" noProof="0" dirty="0">
                <a:ln>
                  <a:noFill/>
                </a:ln>
                <a:solidFill>
                  <a:srgbClr val="000000"/>
                </a:solidFill>
                <a:effectLst/>
                <a:uLnTx/>
                <a:uFillTx/>
                <a:ea typeface="Cambria"/>
                <a:cs typeface="Calibri"/>
              </a:rPr>
              <a:t>?</a:t>
            </a:r>
            <a:endParaRPr kumimoji="0" lang="en-GB" sz="1700" b="0" i="0" u="none" strike="noStrike" kern="1200" cap="none" spc="0" normalizeH="0" baseline="0" noProof="0" dirty="0">
              <a:ln>
                <a:noFill/>
              </a:ln>
              <a:solidFill>
                <a:srgbClr val="000000"/>
              </a:solidFill>
              <a:effectLst/>
              <a:uLnTx/>
              <a:uFillTx/>
            </a:endParaRPr>
          </a:p>
        </p:txBody>
      </p:sp>
      <p:sp>
        <p:nvSpPr>
          <p:cNvPr id="96" name="Rectangle 95">
            <a:extLst>
              <a:ext uri="{FF2B5EF4-FFF2-40B4-BE49-F238E27FC236}">
                <a16:creationId xmlns:a16="http://schemas.microsoft.com/office/drawing/2014/main" id="{D23DCB5C-44BE-6349-6782-7DE4B1DED166}"/>
              </a:ext>
            </a:extLst>
          </p:cNvPr>
          <p:cNvSpPr/>
          <p:nvPr/>
        </p:nvSpPr>
        <p:spPr>
          <a:xfrm>
            <a:off x="9454916" y="2736554"/>
            <a:ext cx="1838615" cy="2877711"/>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wrap="square" lIns="0" tIns="0" rIns="0" bIns="0" anchor="t">
            <a:spAutoFit/>
          </a:bodyPr>
          <a:lstStyle/>
          <a:p>
            <a:pPr marL="291465" marR="0" lvl="1" indent="-194310" algn="l" defTabSz="914400" rtl="0" eaLnBrk="1" fontAlgn="auto" latinLnBrk="0" hangingPunct="1">
              <a:lnSpc>
                <a:spcPct val="100000"/>
              </a:lnSpc>
              <a:spcBef>
                <a:spcPts val="0"/>
              </a:spcBef>
              <a:spcAft>
                <a:spcPts val="0"/>
              </a:spcAft>
              <a:buClr>
                <a:srgbClr val="002060"/>
              </a:buClr>
              <a:buSzTx/>
              <a:buFont typeface="Trebuchet MS" panose="020B0603020202020204" pitchFamily="34" charset="0"/>
              <a:buChar char="•"/>
              <a:tabLst/>
              <a:defRPr/>
            </a:pPr>
            <a:r>
              <a:rPr kumimoji="0" lang="en-GB" sz="1700" b="0" i="0" u="none" strike="noStrike" kern="1200" cap="none" spc="0" normalizeH="0" baseline="0" noProof="0" dirty="0">
                <a:ln>
                  <a:noFill/>
                </a:ln>
                <a:solidFill>
                  <a:srgbClr val="000000"/>
                </a:solidFill>
                <a:effectLst/>
                <a:uLnTx/>
                <a:uFillTx/>
                <a:ea typeface="Cambria"/>
              </a:rPr>
              <a:t>How can advocacy be leveraged to </a:t>
            </a:r>
            <a:r>
              <a:rPr kumimoji="0" lang="en-GB" sz="1700" b="1" i="0" u="none" strike="noStrike" kern="1200" cap="none" spc="0" normalizeH="0" baseline="0" noProof="0" dirty="0">
                <a:ln>
                  <a:noFill/>
                </a:ln>
                <a:solidFill>
                  <a:srgbClr val="2E3558"/>
                </a:solidFill>
                <a:effectLst/>
                <a:uLnTx/>
                <a:uFillTx/>
                <a:ea typeface="Cambria"/>
              </a:rPr>
              <a:t>advance the PPH agenda</a:t>
            </a:r>
            <a:r>
              <a:rPr kumimoji="0" lang="en-GB" sz="1700" b="0" i="0" u="none" strike="noStrike" kern="1200" cap="none" spc="0" normalizeH="0" baseline="0" noProof="0" dirty="0">
                <a:ln>
                  <a:noFill/>
                </a:ln>
                <a:solidFill>
                  <a:srgbClr val="000000"/>
                </a:solidFill>
                <a:effectLst/>
                <a:uLnTx/>
                <a:uFillTx/>
                <a:ea typeface="Cambria"/>
              </a:rPr>
              <a:t>?</a:t>
            </a:r>
            <a:endParaRPr kumimoji="0" lang="en-US" sz="1700" b="0" i="0" u="none" strike="noStrike" kern="1200" cap="none" spc="0" normalizeH="0" baseline="0" noProof="0" dirty="0">
              <a:ln>
                <a:noFill/>
              </a:ln>
              <a:solidFill>
                <a:srgbClr val="262626"/>
              </a:solidFill>
              <a:effectLst/>
              <a:uLnTx/>
              <a:uFillTx/>
              <a:ea typeface="Cambria"/>
              <a:cs typeface="Calibri" panose="020F0502020204030204"/>
            </a:endParaRPr>
          </a:p>
          <a:p>
            <a:pPr marL="291465" marR="0" lvl="1" indent="-194310" algn="l" defTabSz="914400" rtl="0" eaLnBrk="1" fontAlgn="auto" latinLnBrk="0" hangingPunct="1">
              <a:lnSpc>
                <a:spcPct val="100000"/>
              </a:lnSpc>
              <a:spcBef>
                <a:spcPts val="0"/>
              </a:spcBef>
              <a:spcAft>
                <a:spcPts val="0"/>
              </a:spcAft>
              <a:buClr>
                <a:srgbClr val="002060"/>
              </a:buClr>
              <a:buSzTx/>
              <a:buFont typeface="Trebuchet MS" panose="020B0603020202020204" pitchFamily="34" charset="0"/>
              <a:buChar char="•"/>
              <a:tabLst/>
              <a:defRPr/>
            </a:pPr>
            <a:endParaRPr kumimoji="0" lang="en-GB" sz="1700" b="0" i="0" u="none" strike="noStrike" kern="1200" cap="none" spc="0" normalizeH="0" baseline="0" noProof="0" dirty="0">
              <a:ln>
                <a:noFill/>
              </a:ln>
              <a:solidFill>
                <a:srgbClr val="000000"/>
              </a:solidFill>
              <a:effectLst/>
              <a:uLnTx/>
              <a:uFillTx/>
              <a:ea typeface="Cambria"/>
              <a:cs typeface="Calibri"/>
            </a:endParaRPr>
          </a:p>
          <a:p>
            <a:pPr marL="291465" marR="0" lvl="1" indent="-194310" algn="l" defTabSz="914400" rtl="0" eaLnBrk="1" fontAlgn="auto" latinLnBrk="0" hangingPunct="1">
              <a:lnSpc>
                <a:spcPct val="100000"/>
              </a:lnSpc>
              <a:spcBef>
                <a:spcPts val="0"/>
              </a:spcBef>
              <a:spcAft>
                <a:spcPts val="0"/>
              </a:spcAft>
              <a:buClr>
                <a:srgbClr val="002060"/>
              </a:buClr>
              <a:buSzTx/>
              <a:buFont typeface="Trebuchet MS" panose="020B0603020202020204" pitchFamily="34" charset="0"/>
              <a:buChar char="•"/>
              <a:tabLst/>
              <a:defRPr/>
            </a:pPr>
            <a:r>
              <a:rPr kumimoji="0" lang="en-GB" sz="1700" b="0" i="0" u="none" strike="noStrike" kern="1200" cap="none" spc="0" normalizeH="0" baseline="0" noProof="0" dirty="0">
                <a:ln>
                  <a:noFill/>
                </a:ln>
                <a:solidFill>
                  <a:srgbClr val="000000"/>
                </a:solidFill>
                <a:effectLst/>
                <a:uLnTx/>
                <a:uFillTx/>
                <a:ea typeface="Cambria"/>
                <a:cs typeface="Calibri"/>
              </a:rPr>
              <a:t>What types of advocacy could </a:t>
            </a:r>
            <a:r>
              <a:rPr kumimoji="0" lang="en-GB" sz="1700" b="1" i="0" u="none" strike="noStrike" kern="1200" cap="none" spc="0" normalizeH="0" baseline="0" noProof="0" dirty="0">
                <a:ln>
                  <a:noFill/>
                </a:ln>
                <a:solidFill>
                  <a:srgbClr val="2E3558"/>
                </a:solidFill>
                <a:effectLst/>
                <a:uLnTx/>
                <a:uFillTx/>
                <a:ea typeface="Cambria"/>
                <a:cs typeface="Calibri"/>
              </a:rPr>
              <a:t>galvanize action </a:t>
            </a:r>
            <a:r>
              <a:rPr kumimoji="0" lang="en-GB" sz="1700" b="0" i="0" u="none" strike="noStrike" kern="1200" cap="none" spc="0" normalizeH="0" baseline="0" noProof="0" dirty="0">
                <a:ln>
                  <a:noFill/>
                </a:ln>
                <a:solidFill>
                  <a:srgbClr val="000000"/>
                </a:solidFill>
                <a:effectLst/>
                <a:uLnTx/>
                <a:uFillTx/>
                <a:ea typeface="Cambria"/>
                <a:cs typeface="Calibri"/>
              </a:rPr>
              <a:t>on ending deaths due to PPH?</a:t>
            </a:r>
          </a:p>
        </p:txBody>
      </p:sp>
    </p:spTree>
    <p:extLst>
      <p:ext uri="{BB962C8B-B14F-4D97-AF65-F5344CB8AC3E}">
        <p14:creationId xmlns:p14="http://schemas.microsoft.com/office/powerpoint/2010/main" val="2923549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27431F-ECC8-4C5F-09A4-F07431047F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Object 3" hidden="1">
                        <a:extLst>
                          <a:ext uri="{FF2B5EF4-FFF2-40B4-BE49-F238E27FC236}">
                            <a16:creationId xmlns:a16="http://schemas.microsoft.com/office/drawing/2014/main" id="{EA27431F-ECC8-4C5F-09A4-F07431047F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a:extLst>
              <a:ext uri="{FF2B5EF4-FFF2-40B4-BE49-F238E27FC236}">
                <a16:creationId xmlns:a16="http://schemas.microsoft.com/office/drawing/2014/main" id="{5FBBC4E6-86FD-63A9-49D4-1ADD15CB86B2}"/>
              </a:ext>
            </a:extLst>
          </p:cNvPr>
          <p:cNvSpPr/>
          <p:nvPr/>
        </p:nvSpPr>
        <p:spPr>
          <a:xfrm>
            <a:off x="10376637" y="1452878"/>
            <a:ext cx="1529613" cy="4787266"/>
          </a:xfrm>
          <a:prstGeom prst="rect">
            <a:avLst/>
          </a:prstGeom>
          <a:solidFill>
            <a:srgbClr val="CAE5E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06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a:extLst>
              <a:ext uri="{FF2B5EF4-FFF2-40B4-BE49-F238E27FC236}">
                <a16:creationId xmlns:a16="http://schemas.microsoft.com/office/drawing/2014/main" id="{8E40274F-E4B1-6B1E-4757-E5678CAE32AA}"/>
              </a:ext>
            </a:extLst>
          </p:cNvPr>
          <p:cNvSpPr>
            <a:spLocks noGrp="1"/>
          </p:cNvSpPr>
          <p:nvPr>
            <p:ph type="title"/>
          </p:nvPr>
        </p:nvSpPr>
        <p:spPr>
          <a:xfrm>
            <a:off x="459784" y="576503"/>
            <a:ext cx="11082528" cy="332399"/>
          </a:xfrm>
        </p:spPr>
        <p:txBody>
          <a:bodyPr vert="horz"/>
          <a:lstStyle/>
          <a:p>
            <a:r>
              <a:rPr lang="en-US" b="1" dirty="0"/>
              <a:t>Roadmap to accelerate progress on Postpartum </a:t>
            </a:r>
            <a:r>
              <a:rPr lang="en-US" b="1" dirty="0" err="1"/>
              <a:t>Haemorrhage</a:t>
            </a:r>
            <a:endParaRPr lang="en-US" b="1" dirty="0"/>
          </a:p>
        </p:txBody>
      </p:sp>
      <p:cxnSp>
        <p:nvCxnSpPr>
          <p:cNvPr id="87" name="Straight Connector 86">
            <a:extLst>
              <a:ext uri="{FF2B5EF4-FFF2-40B4-BE49-F238E27FC236}">
                <a16:creationId xmlns:a16="http://schemas.microsoft.com/office/drawing/2014/main" id="{4A261815-3363-A72A-23A5-A72E3E6ED436}"/>
              </a:ext>
            </a:extLst>
          </p:cNvPr>
          <p:cNvCxnSpPr>
            <a:cxnSpLocks/>
          </p:cNvCxnSpPr>
          <p:nvPr/>
        </p:nvCxnSpPr>
        <p:spPr>
          <a:xfrm>
            <a:off x="457080" y="1458375"/>
            <a:ext cx="11449170" cy="0"/>
          </a:xfrm>
          <a:prstGeom prst="line">
            <a:avLst/>
          </a:prstGeom>
          <a:ln w="17145" cap="flat" cmpd="sng" algn="ctr">
            <a:solidFill>
              <a:srgbClr val="000000"/>
            </a:solidFill>
            <a:prstDash val="solid"/>
            <a:round/>
            <a:headEnd type="none" w="med" len="med"/>
            <a:tailEnd type="none" w="med" len="med"/>
          </a:ln>
        </p:spPr>
      </p:cxnSp>
      <p:cxnSp>
        <p:nvCxnSpPr>
          <p:cNvPr id="59" name="Straight Connector 58">
            <a:extLst>
              <a:ext uri="{FF2B5EF4-FFF2-40B4-BE49-F238E27FC236}">
                <a16:creationId xmlns:a16="http://schemas.microsoft.com/office/drawing/2014/main" id="{C2A97701-47D0-9BEF-D0CE-D576BB47785A}"/>
              </a:ext>
            </a:extLst>
          </p:cNvPr>
          <p:cNvCxnSpPr/>
          <p:nvPr/>
        </p:nvCxnSpPr>
        <p:spPr>
          <a:xfrm>
            <a:off x="457078" y="3460467"/>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91790CB-907C-864C-6EE1-ACC8767A8BF3}"/>
              </a:ext>
            </a:extLst>
          </p:cNvPr>
          <p:cNvCxnSpPr>
            <a:cxnSpLocks/>
          </p:cNvCxnSpPr>
          <p:nvPr/>
        </p:nvCxnSpPr>
        <p:spPr>
          <a:xfrm>
            <a:off x="457080" y="2456349"/>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3DDCF288-9E56-D417-9584-6377F9D333AE}"/>
              </a:ext>
            </a:extLst>
          </p:cNvPr>
          <p:cNvSpPr/>
          <p:nvPr/>
        </p:nvSpPr>
        <p:spPr>
          <a:xfrm>
            <a:off x="457080" y="1486533"/>
            <a:ext cx="925939" cy="935514"/>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Research</a:t>
            </a:r>
          </a:p>
        </p:txBody>
      </p:sp>
      <p:sp>
        <p:nvSpPr>
          <p:cNvPr id="54" name="Rectangle 53">
            <a:extLst>
              <a:ext uri="{FF2B5EF4-FFF2-40B4-BE49-F238E27FC236}">
                <a16:creationId xmlns:a16="http://schemas.microsoft.com/office/drawing/2014/main" id="{E9FEA665-EFD7-2E15-B4FA-0D52BC2520D5}"/>
              </a:ext>
            </a:extLst>
          </p:cNvPr>
          <p:cNvSpPr/>
          <p:nvPr/>
        </p:nvSpPr>
        <p:spPr>
          <a:xfrm>
            <a:off x="457080" y="2490651"/>
            <a:ext cx="925939" cy="935514"/>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Norms &amp;</a:t>
            </a:r>
          </a:p>
          <a:p>
            <a:pPr algn="ctr"/>
            <a:r>
              <a:rPr lang="en-US" sz="990" dirty="0">
                <a:solidFill>
                  <a:srgbClr val="262626"/>
                </a:solidFill>
              </a:rPr>
              <a:t>Standards</a:t>
            </a:r>
          </a:p>
        </p:txBody>
      </p:sp>
      <p:sp>
        <p:nvSpPr>
          <p:cNvPr id="115" name="Rectangle 114">
            <a:extLst>
              <a:ext uri="{FF2B5EF4-FFF2-40B4-BE49-F238E27FC236}">
                <a16:creationId xmlns:a16="http://schemas.microsoft.com/office/drawing/2014/main" id="{E693E8B0-A1FF-9F8D-F99D-3CAE33B108DC}"/>
              </a:ext>
            </a:extLst>
          </p:cNvPr>
          <p:cNvSpPr/>
          <p:nvPr/>
        </p:nvSpPr>
        <p:spPr>
          <a:xfrm>
            <a:off x="457080" y="5232399"/>
            <a:ext cx="925939" cy="959717"/>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Advocacy</a:t>
            </a:r>
          </a:p>
        </p:txBody>
      </p:sp>
      <p:cxnSp>
        <p:nvCxnSpPr>
          <p:cNvPr id="116" name="Straight Connector 115">
            <a:extLst>
              <a:ext uri="{FF2B5EF4-FFF2-40B4-BE49-F238E27FC236}">
                <a16:creationId xmlns:a16="http://schemas.microsoft.com/office/drawing/2014/main" id="{3B9F747E-05CD-2096-5A92-265588BC9176}"/>
              </a:ext>
            </a:extLst>
          </p:cNvPr>
          <p:cNvCxnSpPr/>
          <p:nvPr/>
        </p:nvCxnSpPr>
        <p:spPr>
          <a:xfrm>
            <a:off x="457078" y="5161343"/>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BFD558AF-6B7D-2F9E-52CC-B7D254AD25E7}"/>
              </a:ext>
            </a:extLst>
          </p:cNvPr>
          <p:cNvSpPr/>
          <p:nvPr/>
        </p:nvSpPr>
        <p:spPr>
          <a:xfrm>
            <a:off x="10365666" y="1629773"/>
            <a:ext cx="1540584" cy="73866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dirty="0">
                <a:solidFill>
                  <a:srgbClr val="262626"/>
                </a:solidFill>
              </a:rPr>
              <a:t>All </a:t>
            </a:r>
            <a:r>
              <a:rPr lang="en-US" sz="1000" b="1" dirty="0">
                <a:solidFill>
                  <a:srgbClr val="0070C0"/>
                </a:solidFill>
              </a:rPr>
              <a:t>priority questions </a:t>
            </a:r>
            <a:r>
              <a:rPr lang="en-US" sz="1000" dirty="0">
                <a:solidFill>
                  <a:srgbClr val="262626"/>
                </a:solidFill>
              </a:rPr>
              <a:t>of the research agenda have been </a:t>
            </a:r>
            <a:r>
              <a:rPr lang="en-US" sz="1000" b="1" dirty="0">
                <a:solidFill>
                  <a:srgbClr val="0070C0"/>
                </a:solidFill>
              </a:rPr>
              <a:t>answered</a:t>
            </a:r>
          </a:p>
        </p:txBody>
      </p:sp>
      <p:sp>
        <p:nvSpPr>
          <p:cNvPr id="33" name="Rectangle 32">
            <a:extLst>
              <a:ext uri="{FF2B5EF4-FFF2-40B4-BE49-F238E27FC236}">
                <a16:creationId xmlns:a16="http://schemas.microsoft.com/office/drawing/2014/main" id="{A4E5630D-FDB3-13A9-83EF-81F32D1CC222}"/>
              </a:ext>
            </a:extLst>
          </p:cNvPr>
          <p:cNvSpPr/>
          <p:nvPr/>
        </p:nvSpPr>
        <p:spPr>
          <a:xfrm>
            <a:off x="10392215" y="2431841"/>
            <a:ext cx="1508298" cy="1058024"/>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b="1" dirty="0">
                <a:solidFill>
                  <a:srgbClr val="0070C0"/>
                </a:solidFill>
              </a:rPr>
              <a:t>Global guidelines </a:t>
            </a:r>
            <a:r>
              <a:rPr lang="en-US" sz="1000" dirty="0">
                <a:solidFill>
                  <a:srgbClr val="262626"/>
                </a:solidFill>
              </a:rPr>
              <a:t>reflect latest evidence available, and are cascaded into </a:t>
            </a:r>
            <a:r>
              <a:rPr lang="en-US" sz="1000" b="1" dirty="0">
                <a:solidFill>
                  <a:srgbClr val="0070C0"/>
                </a:solidFill>
              </a:rPr>
              <a:t>national guidelines</a:t>
            </a:r>
            <a:r>
              <a:rPr lang="en-US" sz="1000" dirty="0">
                <a:solidFill>
                  <a:srgbClr val="262626"/>
                </a:solidFill>
              </a:rPr>
              <a:t>, with clear clinical protocols</a:t>
            </a:r>
          </a:p>
        </p:txBody>
      </p:sp>
      <p:sp>
        <p:nvSpPr>
          <p:cNvPr id="36" name="Rectangle 35">
            <a:extLst>
              <a:ext uri="{FF2B5EF4-FFF2-40B4-BE49-F238E27FC236}">
                <a16:creationId xmlns:a16="http://schemas.microsoft.com/office/drawing/2014/main" id="{BA9F2D10-B759-733B-F3BC-F8001E9B470D}"/>
              </a:ext>
            </a:extLst>
          </p:cNvPr>
          <p:cNvSpPr/>
          <p:nvPr/>
        </p:nvSpPr>
        <p:spPr>
          <a:xfrm>
            <a:off x="10365666" y="3489866"/>
            <a:ext cx="1540584" cy="1581934"/>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dirty="0">
                <a:solidFill>
                  <a:srgbClr val="262626"/>
                </a:solidFill>
              </a:rPr>
              <a:t>Priority implementation</a:t>
            </a:r>
            <a:br>
              <a:rPr lang="en-US" sz="1000" dirty="0">
                <a:solidFill>
                  <a:srgbClr val="262626"/>
                </a:solidFill>
              </a:rPr>
            </a:br>
            <a:r>
              <a:rPr lang="en-US" sz="1000" b="1" dirty="0">
                <a:solidFill>
                  <a:srgbClr val="0070C0"/>
                </a:solidFill>
              </a:rPr>
              <a:t>bottlenecks</a:t>
            </a:r>
            <a:r>
              <a:rPr lang="en-US" sz="1000" dirty="0">
                <a:solidFill>
                  <a:srgbClr val="262626"/>
                </a:solidFill>
              </a:rPr>
              <a:t> </a:t>
            </a:r>
            <a:r>
              <a:rPr lang="en-US" sz="1000" b="1" dirty="0">
                <a:solidFill>
                  <a:srgbClr val="0070C0"/>
                </a:solidFill>
              </a:rPr>
              <a:t>and</a:t>
            </a:r>
            <a:r>
              <a:rPr lang="en-US" sz="1000" dirty="0">
                <a:solidFill>
                  <a:srgbClr val="262626"/>
                </a:solidFill>
              </a:rPr>
              <a:t> </a:t>
            </a:r>
            <a:r>
              <a:rPr lang="en-US" sz="1000" b="1" dirty="0">
                <a:solidFill>
                  <a:srgbClr val="0070C0"/>
                </a:solidFill>
              </a:rPr>
              <a:t>hurdles</a:t>
            </a:r>
            <a:r>
              <a:rPr lang="en-US" sz="1000" dirty="0">
                <a:solidFill>
                  <a:srgbClr val="262626"/>
                </a:solidFill>
              </a:rPr>
              <a:t>, incl. context-specific ones, have been </a:t>
            </a:r>
            <a:r>
              <a:rPr lang="en-US" sz="1000" b="1" dirty="0">
                <a:solidFill>
                  <a:srgbClr val="0070C0"/>
                </a:solidFill>
              </a:rPr>
              <a:t>removed</a:t>
            </a:r>
          </a:p>
        </p:txBody>
      </p:sp>
      <p:sp>
        <p:nvSpPr>
          <p:cNvPr id="37" name="Rectangle 36">
            <a:extLst>
              <a:ext uri="{FF2B5EF4-FFF2-40B4-BE49-F238E27FC236}">
                <a16:creationId xmlns:a16="http://schemas.microsoft.com/office/drawing/2014/main" id="{6F093D76-7A15-3A77-1CB1-5CBCB051ED5C}"/>
              </a:ext>
            </a:extLst>
          </p:cNvPr>
          <p:cNvSpPr/>
          <p:nvPr/>
        </p:nvSpPr>
        <p:spPr>
          <a:xfrm>
            <a:off x="10365666" y="5159713"/>
            <a:ext cx="1540584" cy="1118325"/>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Successful </a:t>
            </a:r>
            <a:r>
              <a:rPr lang="en-US" sz="1000" b="1" dirty="0">
                <a:solidFill>
                  <a:srgbClr val="0070C0"/>
                </a:solidFill>
              </a:rPr>
              <a:t>engagement</a:t>
            </a:r>
            <a:r>
              <a:rPr lang="en-US" sz="990" dirty="0">
                <a:solidFill>
                  <a:srgbClr val="262626"/>
                </a:solidFill>
              </a:rPr>
              <a:t> of all target audiences</a:t>
            </a:r>
          </a:p>
        </p:txBody>
      </p:sp>
      <p:sp>
        <p:nvSpPr>
          <p:cNvPr id="52" name="Rectangle 51">
            <a:extLst>
              <a:ext uri="{FF2B5EF4-FFF2-40B4-BE49-F238E27FC236}">
                <a16:creationId xmlns:a16="http://schemas.microsoft.com/office/drawing/2014/main" id="{880152E6-9F98-95E0-7F52-1D8F4B9FA47D}"/>
              </a:ext>
            </a:extLst>
          </p:cNvPr>
          <p:cNvSpPr/>
          <p:nvPr/>
        </p:nvSpPr>
        <p:spPr>
          <a:xfrm>
            <a:off x="10376637" y="984759"/>
            <a:ext cx="1529613" cy="293659"/>
          </a:xfrm>
          <a:prstGeom prst="rect">
            <a:avLst/>
          </a:prstGeom>
          <a:solidFill>
            <a:srgbClr val="CAE5E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06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0070C0"/>
                </a:solidFill>
              </a:rPr>
              <a:t>Objective</a:t>
            </a:r>
          </a:p>
        </p:txBody>
      </p:sp>
      <p:sp>
        <p:nvSpPr>
          <p:cNvPr id="29" name="Arrow: Chevron 28">
            <a:extLst>
              <a:ext uri="{FF2B5EF4-FFF2-40B4-BE49-F238E27FC236}">
                <a16:creationId xmlns:a16="http://schemas.microsoft.com/office/drawing/2014/main" id="{408B3DFE-0689-D9CC-1C1C-1CC48019BD29}"/>
              </a:ext>
            </a:extLst>
          </p:cNvPr>
          <p:cNvSpPr/>
          <p:nvPr/>
        </p:nvSpPr>
        <p:spPr>
          <a:xfrm>
            <a:off x="1448148" y="984759"/>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60" b="0" i="0" u="none" strike="noStrike" kern="1200" cap="none" spc="0" normalizeH="0" baseline="0" noProof="0" dirty="0">
                <a:ln>
                  <a:noFill/>
                </a:ln>
                <a:solidFill>
                  <a:srgbClr val="FFFFFF"/>
                </a:solidFill>
                <a:effectLst/>
                <a:uLnTx/>
                <a:uFillTx/>
                <a:ea typeface="+mn-ea"/>
                <a:cs typeface="+mn-cs"/>
              </a:rPr>
              <a:t>Q2 2023</a:t>
            </a:r>
          </a:p>
        </p:txBody>
      </p:sp>
      <p:sp>
        <p:nvSpPr>
          <p:cNvPr id="40" name="Arrow: Chevron 39">
            <a:extLst>
              <a:ext uri="{FF2B5EF4-FFF2-40B4-BE49-F238E27FC236}">
                <a16:creationId xmlns:a16="http://schemas.microsoft.com/office/drawing/2014/main" id="{98859B9F-FB46-5306-7C97-857849C5976D}"/>
              </a:ext>
            </a:extLst>
          </p:cNvPr>
          <p:cNvSpPr/>
          <p:nvPr/>
        </p:nvSpPr>
        <p:spPr>
          <a:xfrm>
            <a:off x="685787" y="984759"/>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100" b="1" dirty="0">
                <a:solidFill>
                  <a:srgbClr val="002060"/>
                </a:solidFill>
              </a:rPr>
              <a:t>PPH</a:t>
            </a:r>
          </a:p>
          <a:p>
            <a:pPr algn="ctr"/>
            <a:r>
              <a:rPr lang="fr-FR" sz="1100" b="1" dirty="0">
                <a:solidFill>
                  <a:srgbClr val="002060"/>
                </a:solidFill>
              </a:rPr>
              <a:t>Summit</a:t>
            </a:r>
          </a:p>
        </p:txBody>
      </p:sp>
      <p:cxnSp>
        <p:nvCxnSpPr>
          <p:cNvPr id="102" name="Straight Connector 101">
            <a:extLst>
              <a:ext uri="{FF2B5EF4-FFF2-40B4-BE49-F238E27FC236}">
                <a16:creationId xmlns:a16="http://schemas.microsoft.com/office/drawing/2014/main" id="{C7CB1139-2B0A-F637-FADA-08F2A7625CC4}"/>
              </a:ext>
            </a:extLst>
          </p:cNvPr>
          <p:cNvCxnSpPr/>
          <p:nvPr/>
        </p:nvCxnSpPr>
        <p:spPr>
          <a:xfrm>
            <a:off x="457080" y="6226424"/>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0EA3003D-523F-401E-8C20-A7691F51EAC6}"/>
              </a:ext>
            </a:extLst>
          </p:cNvPr>
          <p:cNvGrpSpPr/>
          <p:nvPr/>
        </p:nvGrpSpPr>
        <p:grpSpPr>
          <a:xfrm>
            <a:off x="457078" y="6497026"/>
            <a:ext cx="2775803" cy="169277"/>
            <a:chOff x="457277" y="5846680"/>
            <a:chExt cx="2775803" cy="169277"/>
          </a:xfrm>
        </p:grpSpPr>
        <p:sp>
          <p:nvSpPr>
            <p:cNvPr id="94" name="Isosceles Triangle 93">
              <a:extLst>
                <a:ext uri="{FF2B5EF4-FFF2-40B4-BE49-F238E27FC236}">
                  <a16:creationId xmlns:a16="http://schemas.microsoft.com/office/drawing/2014/main" id="{EA5F4053-2B51-42C8-B9F7-D8280841DBE6}"/>
                </a:ext>
              </a:extLst>
            </p:cNvPr>
            <p:cNvSpPr>
              <a:spLocks/>
            </p:cNvSpPr>
            <p:nvPr/>
          </p:nvSpPr>
          <p:spPr>
            <a:xfrm flipV="1">
              <a:off x="457277" y="5853892"/>
              <a:ext cx="202490" cy="154853"/>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p>
          </p:txBody>
        </p:sp>
        <p:sp>
          <p:nvSpPr>
            <p:cNvPr id="95" name="ee4pContent1">
              <a:extLst>
                <a:ext uri="{FF2B5EF4-FFF2-40B4-BE49-F238E27FC236}">
                  <a16:creationId xmlns:a16="http://schemas.microsoft.com/office/drawing/2014/main" id="{2B1BBCE6-993E-4A2B-A744-8E7371BDDA23}"/>
                </a:ext>
              </a:extLst>
            </p:cNvPr>
            <p:cNvSpPr txBox="1"/>
            <p:nvPr/>
          </p:nvSpPr>
          <p:spPr>
            <a:xfrm>
              <a:off x="713107" y="5846680"/>
              <a:ext cx="2519973" cy="1692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100" kern="1200" dirty="0">
                  <a:solidFill>
                    <a:srgbClr val="262626"/>
                  </a:solidFill>
                  <a:effectLst/>
                  <a:ea typeface="Calibri" panose="020F0502020204030204" pitchFamily="34" charset="0"/>
                  <a:cs typeface="Mangal" panose="02040503050203030202" pitchFamily="18" charset="0"/>
                </a:rPr>
                <a:t>Milestones non contingent on new funding </a:t>
              </a:r>
              <a:endParaRPr lang="en-US" sz="1100" dirty="0">
                <a:effectLst/>
                <a:ea typeface="Calibri" panose="020F0502020204030204" pitchFamily="34" charset="0"/>
                <a:cs typeface="Calibri" panose="020F0502020204030204" pitchFamily="34" charset="0"/>
              </a:endParaRPr>
            </a:p>
          </p:txBody>
        </p:sp>
      </p:grpSp>
      <p:grpSp>
        <p:nvGrpSpPr>
          <p:cNvPr id="76" name="Group 75">
            <a:extLst>
              <a:ext uri="{FF2B5EF4-FFF2-40B4-BE49-F238E27FC236}">
                <a16:creationId xmlns:a16="http://schemas.microsoft.com/office/drawing/2014/main" id="{24628872-717F-4F87-8072-840180CFFB57}"/>
              </a:ext>
            </a:extLst>
          </p:cNvPr>
          <p:cNvGrpSpPr/>
          <p:nvPr/>
        </p:nvGrpSpPr>
        <p:grpSpPr>
          <a:xfrm>
            <a:off x="3493262" y="6497026"/>
            <a:ext cx="2170256" cy="169277"/>
            <a:chOff x="913351" y="6281031"/>
            <a:chExt cx="2170256" cy="169277"/>
          </a:xfrm>
        </p:grpSpPr>
        <p:sp>
          <p:nvSpPr>
            <p:cNvPr id="92" name="Isosceles Triangle 91">
              <a:extLst>
                <a:ext uri="{FF2B5EF4-FFF2-40B4-BE49-F238E27FC236}">
                  <a16:creationId xmlns:a16="http://schemas.microsoft.com/office/drawing/2014/main" id="{D86C5BA4-1DB3-4A23-9B6D-22FEE03E2D58}"/>
                </a:ext>
              </a:extLst>
            </p:cNvPr>
            <p:cNvSpPr>
              <a:spLocks/>
            </p:cNvSpPr>
            <p:nvPr/>
          </p:nvSpPr>
          <p:spPr>
            <a:xfrm flipV="1">
              <a:off x="913351" y="6288243"/>
              <a:ext cx="202490" cy="154853"/>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p>
          </p:txBody>
        </p:sp>
        <p:sp>
          <p:nvSpPr>
            <p:cNvPr id="93" name="ee4pContent1">
              <a:extLst>
                <a:ext uri="{FF2B5EF4-FFF2-40B4-BE49-F238E27FC236}">
                  <a16:creationId xmlns:a16="http://schemas.microsoft.com/office/drawing/2014/main" id="{0D20737E-1FA9-4E3E-94C9-C86DD2FAF533}"/>
                </a:ext>
              </a:extLst>
            </p:cNvPr>
            <p:cNvSpPr txBox="1"/>
            <p:nvPr/>
          </p:nvSpPr>
          <p:spPr>
            <a:xfrm>
              <a:off x="1169181" y="6281031"/>
              <a:ext cx="1914426" cy="1692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kern="1200" dirty="0">
                  <a:solidFill>
                    <a:srgbClr val="262626"/>
                  </a:solidFill>
                  <a:effectLst/>
                  <a:ea typeface="Calibri" panose="020F0502020204030204" pitchFamily="34" charset="0"/>
                  <a:cs typeface="Mangal" panose="02040503050203030202" pitchFamily="18" charset="0"/>
                </a:rPr>
                <a:t>Milestones contingent on funding</a:t>
              </a:r>
              <a:endParaRPr lang="en-US" sz="1100" dirty="0">
                <a:effectLst/>
                <a:ea typeface="Calibri" panose="020F0502020204030204" pitchFamily="34" charset="0"/>
                <a:cs typeface="Calibri" panose="020F0502020204030204" pitchFamily="34" charset="0"/>
              </a:endParaRPr>
            </a:p>
          </p:txBody>
        </p:sp>
      </p:grpSp>
      <p:grpSp>
        <p:nvGrpSpPr>
          <p:cNvPr id="77" name="Group 76">
            <a:extLst>
              <a:ext uri="{FF2B5EF4-FFF2-40B4-BE49-F238E27FC236}">
                <a16:creationId xmlns:a16="http://schemas.microsoft.com/office/drawing/2014/main" id="{0A7176CC-9B42-4594-97B3-5C82916E126B}"/>
              </a:ext>
            </a:extLst>
          </p:cNvPr>
          <p:cNvGrpSpPr/>
          <p:nvPr/>
        </p:nvGrpSpPr>
        <p:grpSpPr>
          <a:xfrm>
            <a:off x="5923899" y="6491812"/>
            <a:ext cx="1325870" cy="179705"/>
            <a:chOff x="4080944" y="6403416"/>
            <a:chExt cx="1325870" cy="179705"/>
          </a:xfrm>
        </p:grpSpPr>
        <p:sp>
          <p:nvSpPr>
            <p:cNvPr id="90" name="ee4pContent1">
              <a:extLst>
                <a:ext uri="{FF2B5EF4-FFF2-40B4-BE49-F238E27FC236}">
                  <a16:creationId xmlns:a16="http://schemas.microsoft.com/office/drawing/2014/main" id="{C5DFBE9D-68C2-4B7A-9B54-92ED2DDC032C}"/>
                </a:ext>
              </a:extLst>
            </p:cNvPr>
            <p:cNvSpPr txBox="1"/>
            <p:nvPr/>
          </p:nvSpPr>
          <p:spPr>
            <a:xfrm>
              <a:off x="4225718" y="6403416"/>
              <a:ext cx="1181096" cy="17970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kern="1200" dirty="0">
                  <a:solidFill>
                    <a:srgbClr val="262626"/>
                  </a:solidFill>
                  <a:effectLst/>
                  <a:ea typeface="Calibri" panose="020F0502020204030204" pitchFamily="34" charset="0"/>
                  <a:cs typeface="Mangal" panose="02040503050203030202" pitchFamily="18" charset="0"/>
                </a:rPr>
                <a:t>Interdependencies</a:t>
              </a:r>
              <a:endParaRPr lang="en-US" sz="1100" dirty="0">
                <a:effectLst/>
                <a:ea typeface="Calibri" panose="020F0502020204030204" pitchFamily="34" charset="0"/>
                <a:cs typeface="Calibri" panose="020F0502020204030204" pitchFamily="34" charset="0"/>
              </a:endParaRPr>
            </a:p>
          </p:txBody>
        </p:sp>
        <p:cxnSp>
          <p:nvCxnSpPr>
            <p:cNvPr id="91" name="Connector: Curved 90">
              <a:extLst>
                <a:ext uri="{FF2B5EF4-FFF2-40B4-BE49-F238E27FC236}">
                  <a16:creationId xmlns:a16="http://schemas.microsoft.com/office/drawing/2014/main" id="{33AA0476-5935-4C62-AD99-07DF361F3E37}"/>
                </a:ext>
              </a:extLst>
            </p:cNvPr>
            <p:cNvCxnSpPr>
              <a:cxnSpLocks/>
            </p:cNvCxnSpPr>
            <p:nvPr/>
          </p:nvCxnSpPr>
          <p:spPr>
            <a:xfrm rot="16200000" flipH="1">
              <a:off x="4033253" y="6470412"/>
              <a:ext cx="141097" cy="45715"/>
            </a:xfrm>
            <a:prstGeom prst="curvedConnector4">
              <a:avLst>
                <a:gd name="adj1" fmla="val -18601"/>
                <a:gd name="adj2" fmla="val 176689"/>
              </a:avLst>
            </a:prstGeom>
            <a:noFill/>
            <a:ln w="9525" cap="rnd" cmpd="sng" algn="ctr">
              <a:solidFill>
                <a:srgbClr val="006037"/>
              </a:solidFill>
              <a:prstDash val="sysDash"/>
              <a:round/>
              <a:headEnd type="none" w="med" len="med"/>
              <a:tailEnd type="triangle" w="med" len="med"/>
            </a:ln>
            <a:effectLst/>
          </p:spPr>
        </p:cxnSp>
      </p:grpSp>
      <p:sp>
        <p:nvSpPr>
          <p:cNvPr id="24" name="Arrow: Chevron 23">
            <a:extLst>
              <a:ext uri="{FF2B5EF4-FFF2-40B4-BE49-F238E27FC236}">
                <a16:creationId xmlns:a16="http://schemas.microsoft.com/office/drawing/2014/main" id="{64A7DAD6-590E-5612-4176-F8838477D696}"/>
              </a:ext>
            </a:extLst>
          </p:cNvPr>
          <p:cNvSpPr/>
          <p:nvPr/>
        </p:nvSpPr>
        <p:spPr>
          <a:xfrm>
            <a:off x="2259829" y="984759"/>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defRPr/>
            </a:pPr>
            <a:r>
              <a:rPr kumimoji="0" lang="fr-FR" sz="1260" b="0" i="0" u="none" strike="noStrike" kern="1200" cap="none" spc="0" normalizeH="0" baseline="0" noProof="0" dirty="0">
                <a:ln>
                  <a:noFill/>
                </a:ln>
                <a:solidFill>
                  <a:srgbClr val="FFFFFF"/>
                </a:solidFill>
                <a:effectLst/>
                <a:uLnTx/>
                <a:uFillTx/>
                <a:ea typeface="+mn-ea"/>
                <a:cs typeface="+mn-cs"/>
              </a:rPr>
              <a:t>Q3 2023</a:t>
            </a:r>
          </a:p>
        </p:txBody>
      </p:sp>
      <p:sp>
        <p:nvSpPr>
          <p:cNvPr id="25" name="Arrow: Chevron 24">
            <a:extLst>
              <a:ext uri="{FF2B5EF4-FFF2-40B4-BE49-F238E27FC236}">
                <a16:creationId xmlns:a16="http://schemas.microsoft.com/office/drawing/2014/main" id="{40D5E96D-C759-3022-5D7A-502AD2DD18EF}"/>
              </a:ext>
            </a:extLst>
          </p:cNvPr>
          <p:cNvSpPr/>
          <p:nvPr/>
        </p:nvSpPr>
        <p:spPr>
          <a:xfrm>
            <a:off x="3071509" y="984759"/>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60" b="0" i="0" u="none" strike="noStrike" kern="1200" cap="none" spc="0" normalizeH="0" baseline="0" noProof="0" dirty="0">
                <a:ln>
                  <a:noFill/>
                </a:ln>
                <a:solidFill>
                  <a:srgbClr val="FFFFFF"/>
                </a:solidFill>
                <a:effectLst/>
                <a:uLnTx/>
                <a:uFillTx/>
                <a:ea typeface="+mn-ea"/>
                <a:cs typeface="+mn-cs"/>
              </a:rPr>
              <a:t>Q4 2023</a:t>
            </a:r>
          </a:p>
        </p:txBody>
      </p:sp>
      <p:sp>
        <p:nvSpPr>
          <p:cNvPr id="43" name="Arrow: Chevron 42">
            <a:extLst>
              <a:ext uri="{FF2B5EF4-FFF2-40B4-BE49-F238E27FC236}">
                <a16:creationId xmlns:a16="http://schemas.microsoft.com/office/drawing/2014/main" id="{6964B65F-CCD7-168F-6021-221CCB4D14FE}"/>
              </a:ext>
            </a:extLst>
          </p:cNvPr>
          <p:cNvSpPr/>
          <p:nvPr/>
        </p:nvSpPr>
        <p:spPr>
          <a:xfrm>
            <a:off x="3883190" y="984759"/>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H1 2024</a:t>
            </a:r>
          </a:p>
        </p:txBody>
      </p:sp>
      <p:sp>
        <p:nvSpPr>
          <p:cNvPr id="45" name="Arrow: Chevron 44">
            <a:extLst>
              <a:ext uri="{FF2B5EF4-FFF2-40B4-BE49-F238E27FC236}">
                <a16:creationId xmlns:a16="http://schemas.microsoft.com/office/drawing/2014/main" id="{0E992D14-0AB3-DCBD-F08E-54219F9DBA1E}"/>
              </a:ext>
            </a:extLst>
          </p:cNvPr>
          <p:cNvSpPr/>
          <p:nvPr/>
        </p:nvSpPr>
        <p:spPr>
          <a:xfrm>
            <a:off x="4694871" y="984759"/>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H2 2024</a:t>
            </a:r>
          </a:p>
        </p:txBody>
      </p:sp>
      <p:sp>
        <p:nvSpPr>
          <p:cNvPr id="50" name="Arrow: Chevron 49">
            <a:extLst>
              <a:ext uri="{FF2B5EF4-FFF2-40B4-BE49-F238E27FC236}">
                <a16:creationId xmlns:a16="http://schemas.microsoft.com/office/drawing/2014/main" id="{EA793F0D-03DE-C135-4C4D-1318C3A97E13}"/>
              </a:ext>
            </a:extLst>
          </p:cNvPr>
          <p:cNvSpPr/>
          <p:nvPr/>
        </p:nvSpPr>
        <p:spPr>
          <a:xfrm>
            <a:off x="5506552" y="984759"/>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5</a:t>
            </a:r>
          </a:p>
        </p:txBody>
      </p:sp>
      <p:sp>
        <p:nvSpPr>
          <p:cNvPr id="51" name="Arrow: Chevron 50">
            <a:extLst>
              <a:ext uri="{FF2B5EF4-FFF2-40B4-BE49-F238E27FC236}">
                <a16:creationId xmlns:a16="http://schemas.microsoft.com/office/drawing/2014/main" id="{5C27B0CB-0CE3-AC07-6A60-AD10E72A2C57}"/>
              </a:ext>
            </a:extLst>
          </p:cNvPr>
          <p:cNvSpPr/>
          <p:nvPr/>
        </p:nvSpPr>
        <p:spPr>
          <a:xfrm>
            <a:off x="6318233" y="984759"/>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6</a:t>
            </a:r>
          </a:p>
        </p:txBody>
      </p:sp>
      <p:sp>
        <p:nvSpPr>
          <p:cNvPr id="58" name="Arrow: Chevron 57">
            <a:extLst>
              <a:ext uri="{FF2B5EF4-FFF2-40B4-BE49-F238E27FC236}">
                <a16:creationId xmlns:a16="http://schemas.microsoft.com/office/drawing/2014/main" id="{8F53A031-EBC2-D3F2-E50A-653D4E439AE7}"/>
              </a:ext>
            </a:extLst>
          </p:cNvPr>
          <p:cNvSpPr/>
          <p:nvPr/>
        </p:nvSpPr>
        <p:spPr>
          <a:xfrm>
            <a:off x="7129914" y="984759"/>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7</a:t>
            </a:r>
          </a:p>
        </p:txBody>
      </p:sp>
      <p:sp>
        <p:nvSpPr>
          <p:cNvPr id="68" name="Arrow: Chevron 67">
            <a:extLst>
              <a:ext uri="{FF2B5EF4-FFF2-40B4-BE49-F238E27FC236}">
                <a16:creationId xmlns:a16="http://schemas.microsoft.com/office/drawing/2014/main" id="{0B8415FD-BC29-DDEB-5CD3-D5CA4F461E19}"/>
              </a:ext>
            </a:extLst>
          </p:cNvPr>
          <p:cNvSpPr/>
          <p:nvPr/>
        </p:nvSpPr>
        <p:spPr>
          <a:xfrm>
            <a:off x="7941594" y="984759"/>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8</a:t>
            </a:r>
          </a:p>
        </p:txBody>
      </p:sp>
      <p:sp>
        <p:nvSpPr>
          <p:cNvPr id="69" name="Arrow: Chevron 68">
            <a:extLst>
              <a:ext uri="{FF2B5EF4-FFF2-40B4-BE49-F238E27FC236}">
                <a16:creationId xmlns:a16="http://schemas.microsoft.com/office/drawing/2014/main" id="{078F55A3-2572-CED5-9A4E-00998462F45A}"/>
              </a:ext>
            </a:extLst>
          </p:cNvPr>
          <p:cNvSpPr/>
          <p:nvPr/>
        </p:nvSpPr>
        <p:spPr>
          <a:xfrm>
            <a:off x="8753275" y="984759"/>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9</a:t>
            </a:r>
          </a:p>
        </p:txBody>
      </p:sp>
      <p:sp>
        <p:nvSpPr>
          <p:cNvPr id="70" name="Arrow: Chevron 69">
            <a:extLst>
              <a:ext uri="{FF2B5EF4-FFF2-40B4-BE49-F238E27FC236}">
                <a16:creationId xmlns:a16="http://schemas.microsoft.com/office/drawing/2014/main" id="{002A1ADB-1738-2676-7ABA-EBFDFE1E2EDB}"/>
              </a:ext>
            </a:extLst>
          </p:cNvPr>
          <p:cNvSpPr/>
          <p:nvPr/>
        </p:nvSpPr>
        <p:spPr>
          <a:xfrm>
            <a:off x="9564956" y="984759"/>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30</a:t>
            </a:r>
          </a:p>
        </p:txBody>
      </p:sp>
      <p:grpSp>
        <p:nvGrpSpPr>
          <p:cNvPr id="3" name="Group 2">
            <a:extLst>
              <a:ext uri="{FF2B5EF4-FFF2-40B4-BE49-F238E27FC236}">
                <a16:creationId xmlns:a16="http://schemas.microsoft.com/office/drawing/2014/main" id="{1EB869ED-1ADE-9779-DBE1-C4A879828A0D}"/>
              </a:ext>
            </a:extLst>
          </p:cNvPr>
          <p:cNvGrpSpPr/>
          <p:nvPr/>
        </p:nvGrpSpPr>
        <p:grpSpPr>
          <a:xfrm>
            <a:off x="1430441" y="1477755"/>
            <a:ext cx="1213507" cy="4665628"/>
            <a:chOff x="1430441" y="1907719"/>
            <a:chExt cx="1213507" cy="3882847"/>
          </a:xfrm>
        </p:grpSpPr>
        <p:grpSp>
          <p:nvGrpSpPr>
            <p:cNvPr id="6" name="Group 5">
              <a:extLst>
                <a:ext uri="{FF2B5EF4-FFF2-40B4-BE49-F238E27FC236}">
                  <a16:creationId xmlns:a16="http://schemas.microsoft.com/office/drawing/2014/main" id="{264FF6F1-C70A-A8D1-BC28-B4EB148F0955}"/>
                </a:ext>
              </a:extLst>
            </p:cNvPr>
            <p:cNvGrpSpPr/>
            <p:nvPr/>
          </p:nvGrpSpPr>
          <p:grpSpPr>
            <a:xfrm>
              <a:off x="1757448" y="1907719"/>
              <a:ext cx="232206" cy="3882847"/>
              <a:chOff x="1757448" y="1907719"/>
              <a:chExt cx="232206" cy="3882847"/>
            </a:xfrm>
          </p:grpSpPr>
          <p:sp>
            <p:nvSpPr>
              <p:cNvPr id="8" name="Rectangle 7">
                <a:extLst>
                  <a:ext uri="{FF2B5EF4-FFF2-40B4-BE49-F238E27FC236}">
                    <a16:creationId xmlns:a16="http://schemas.microsoft.com/office/drawing/2014/main" id="{9E7E1B16-216E-6F61-FFD1-E760D2E57D4F}"/>
                  </a:ext>
                </a:extLst>
              </p:cNvPr>
              <p:cNvSpPr/>
              <p:nvPr/>
            </p:nvSpPr>
            <p:spPr>
              <a:xfrm>
                <a:off x="1757448" y="1907719"/>
                <a:ext cx="232206" cy="3882847"/>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9" name="Straight Connector 8">
                <a:extLst>
                  <a:ext uri="{FF2B5EF4-FFF2-40B4-BE49-F238E27FC236}">
                    <a16:creationId xmlns:a16="http://schemas.microsoft.com/office/drawing/2014/main" id="{3827617A-EE6B-B9A5-C76D-65E4132B002F}"/>
                  </a:ext>
                </a:extLst>
              </p:cNvPr>
              <p:cNvCxnSpPr>
                <a:cxnSpLocks/>
                <a:stCxn id="8" idx="2"/>
              </p:cNvCxnSpPr>
              <p:nvPr/>
            </p:nvCxnSpPr>
            <p:spPr>
              <a:xfrm flipH="1" flipV="1">
                <a:off x="1859662" y="1952250"/>
                <a:ext cx="13889" cy="3838316"/>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10" name="Isosceles Triangle 9">
                <a:extLst>
                  <a:ext uri="{FF2B5EF4-FFF2-40B4-BE49-F238E27FC236}">
                    <a16:creationId xmlns:a16="http://schemas.microsoft.com/office/drawing/2014/main" id="{21BF9E43-F63D-B254-A0E1-F3A0BDC37E67}"/>
                  </a:ext>
                </a:extLst>
              </p:cNvPr>
              <p:cNvSpPr>
                <a:spLocks/>
              </p:cNvSpPr>
              <p:nvPr/>
            </p:nvSpPr>
            <p:spPr>
              <a:xfrm flipV="1">
                <a:off x="1782422" y="3319937"/>
                <a:ext cx="182257" cy="140352"/>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381" tIns="64191" rIns="128381" bIns="641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ea typeface="+mn-ea"/>
                  <a:cs typeface="Calibri Light" panose="020F0302020204030204" pitchFamily="34" charset="0"/>
                  <a:sym typeface="Calibri Light" panose="020F0302020204030204" pitchFamily="34" charset="0"/>
                </a:endParaRPr>
              </a:p>
            </p:txBody>
          </p:sp>
        </p:grpSp>
        <p:sp>
          <p:nvSpPr>
            <p:cNvPr id="7" name="ee4pContent1">
              <a:extLst>
                <a:ext uri="{FF2B5EF4-FFF2-40B4-BE49-F238E27FC236}">
                  <a16:creationId xmlns:a16="http://schemas.microsoft.com/office/drawing/2014/main" id="{EA6BF5A9-44C5-8AA9-2AB9-438329640A5E}"/>
                </a:ext>
              </a:extLst>
            </p:cNvPr>
            <p:cNvSpPr txBox="1"/>
            <p:nvPr/>
          </p:nvSpPr>
          <p:spPr>
            <a:xfrm>
              <a:off x="1430441" y="3473783"/>
              <a:ext cx="1213507" cy="1015663"/>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r>
                <a:rPr lang="en-US" sz="1100" b="1" kern="1200" dirty="0">
                  <a:solidFill>
                    <a:srgbClr val="002060"/>
                  </a:solidFill>
                  <a:effectLst/>
                </a:rPr>
                <a:t>IMNHC</a:t>
              </a:r>
              <a:r>
                <a:rPr lang="en-US" sz="1100" kern="1200" dirty="0">
                  <a:solidFill>
                    <a:srgbClr val="262626"/>
                  </a:solidFill>
                  <a:effectLst/>
                </a:rPr>
                <a:t> – </a:t>
              </a:r>
              <a:r>
                <a:rPr lang="en-US" sz="1100" b="1" dirty="0">
                  <a:solidFill>
                    <a:srgbClr val="002060"/>
                  </a:solidFill>
                </a:rPr>
                <a:t>launch of the RoadMap</a:t>
              </a:r>
              <a:r>
                <a:rPr lang="en-US" sz="1100" kern="1200" dirty="0">
                  <a:solidFill>
                    <a:srgbClr val="262626"/>
                  </a:solidFill>
                  <a:effectLst/>
                </a:rPr>
                <a:t>, including research, normative, implementation, and advocacy agendas</a:t>
              </a:r>
              <a:endParaRPr lang="en-US" sz="1100" dirty="0">
                <a:effectLst/>
                <a:ea typeface="Calibri" panose="020F0502020204030204" pitchFamily="34" charset="0"/>
                <a:cs typeface="Calibri" panose="020F0502020204030204" pitchFamily="34" charset="0"/>
              </a:endParaRPr>
            </a:p>
          </p:txBody>
        </p:sp>
      </p:grpSp>
      <p:sp>
        <p:nvSpPr>
          <p:cNvPr id="11" name="Arrow: Chevron 10">
            <a:extLst>
              <a:ext uri="{FF2B5EF4-FFF2-40B4-BE49-F238E27FC236}">
                <a16:creationId xmlns:a16="http://schemas.microsoft.com/office/drawing/2014/main" id="{688FF4C2-0CBC-71C3-B2B6-A48B3C785F63}"/>
              </a:ext>
            </a:extLst>
          </p:cNvPr>
          <p:cNvSpPr/>
          <p:nvPr/>
        </p:nvSpPr>
        <p:spPr>
          <a:xfrm>
            <a:off x="10322684" y="985824"/>
            <a:ext cx="99299" cy="299159"/>
          </a:xfrm>
          <a:prstGeom prst="chevron">
            <a:avLst>
              <a:gd name="adj" fmla="val 34514"/>
            </a:avLst>
          </a:prstGeom>
          <a:solidFill>
            <a:srgbClr val="FFFFFF"/>
          </a:solidFill>
          <a:ln w="8572"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endParaRPr kumimoji="0" lang="fr-FR" sz="1260" b="0" i="0" u="none" strike="noStrike" kern="1200" cap="none" spc="0" normalizeH="0" baseline="0" noProof="0" dirty="0">
              <a:ln>
                <a:noFill/>
              </a:ln>
              <a:solidFill>
                <a:srgbClr val="0070C0"/>
              </a:solidFill>
              <a:effectLst/>
              <a:uLnTx/>
              <a:uFillTx/>
              <a:ea typeface="+mn-ea"/>
              <a:cs typeface="+mn-cs"/>
            </a:endParaRPr>
          </a:p>
        </p:txBody>
      </p:sp>
      <p:sp>
        <p:nvSpPr>
          <p:cNvPr id="12" name="Rectangle 11">
            <a:extLst>
              <a:ext uri="{FF2B5EF4-FFF2-40B4-BE49-F238E27FC236}">
                <a16:creationId xmlns:a16="http://schemas.microsoft.com/office/drawing/2014/main" id="{2053987C-4176-713D-ED6A-32EF96605E71}"/>
              </a:ext>
            </a:extLst>
          </p:cNvPr>
          <p:cNvSpPr/>
          <p:nvPr/>
        </p:nvSpPr>
        <p:spPr>
          <a:xfrm>
            <a:off x="213360" y="1486533"/>
            <a:ext cx="152590" cy="4705584"/>
          </a:xfrm>
          <a:prstGeom prst="rect">
            <a:avLst/>
          </a:prstGeom>
          <a:solidFill>
            <a:srgbClr val="CAE5E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100" dirty="0">
                <a:solidFill>
                  <a:srgbClr val="0070C0"/>
                </a:solidFill>
              </a:rPr>
              <a:t>Strategic areas</a:t>
            </a:r>
          </a:p>
        </p:txBody>
      </p:sp>
      <p:sp>
        <p:nvSpPr>
          <p:cNvPr id="13" name="Rectangle 12">
            <a:extLst>
              <a:ext uri="{FF2B5EF4-FFF2-40B4-BE49-F238E27FC236}">
                <a16:creationId xmlns:a16="http://schemas.microsoft.com/office/drawing/2014/main" id="{E250A03F-072E-57F7-C517-286D81935844}"/>
              </a:ext>
            </a:extLst>
          </p:cNvPr>
          <p:cNvSpPr/>
          <p:nvPr/>
        </p:nvSpPr>
        <p:spPr>
          <a:xfrm>
            <a:off x="457080" y="3501268"/>
            <a:ext cx="925939" cy="1625768"/>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Implementation</a:t>
            </a:r>
          </a:p>
        </p:txBody>
      </p:sp>
    </p:spTree>
    <p:extLst>
      <p:ext uri="{BB962C8B-B14F-4D97-AF65-F5344CB8AC3E}">
        <p14:creationId xmlns:p14="http://schemas.microsoft.com/office/powerpoint/2010/main" val="1794017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27431F-ECC8-4C5F-09A4-F07431047F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Object 3" hidden="1">
                        <a:extLst>
                          <a:ext uri="{FF2B5EF4-FFF2-40B4-BE49-F238E27FC236}">
                            <a16:creationId xmlns:a16="http://schemas.microsoft.com/office/drawing/2014/main" id="{EA27431F-ECC8-4C5F-09A4-F07431047F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a:extLst>
              <a:ext uri="{FF2B5EF4-FFF2-40B4-BE49-F238E27FC236}">
                <a16:creationId xmlns:a16="http://schemas.microsoft.com/office/drawing/2014/main" id="{5FBBC4E6-86FD-63A9-49D4-1ADD15CB86B2}"/>
              </a:ext>
            </a:extLst>
          </p:cNvPr>
          <p:cNvSpPr/>
          <p:nvPr/>
        </p:nvSpPr>
        <p:spPr>
          <a:xfrm>
            <a:off x="10376637" y="1438434"/>
            <a:ext cx="1529613" cy="4801710"/>
          </a:xfrm>
          <a:prstGeom prst="rect">
            <a:avLst/>
          </a:prstGeom>
          <a:solidFill>
            <a:srgbClr val="CAE5E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06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a:extLst>
              <a:ext uri="{FF2B5EF4-FFF2-40B4-BE49-F238E27FC236}">
                <a16:creationId xmlns:a16="http://schemas.microsoft.com/office/drawing/2014/main" id="{8E40274F-E4B1-6B1E-4757-E5678CAE32AA}"/>
              </a:ext>
            </a:extLst>
          </p:cNvPr>
          <p:cNvSpPr>
            <a:spLocks noGrp="1"/>
          </p:cNvSpPr>
          <p:nvPr>
            <p:ph type="title"/>
          </p:nvPr>
        </p:nvSpPr>
        <p:spPr>
          <a:xfrm>
            <a:off x="459784" y="576503"/>
            <a:ext cx="11082528" cy="332399"/>
          </a:xfrm>
        </p:spPr>
        <p:txBody>
          <a:bodyPr vert="horz"/>
          <a:lstStyle/>
          <a:p>
            <a:r>
              <a:rPr lang="en-US" b="1" dirty="0"/>
              <a:t>Roadmap to accelerate progress on Postpartum </a:t>
            </a:r>
            <a:r>
              <a:rPr lang="en-US" b="1" dirty="0" err="1"/>
              <a:t>Haemorrhage</a:t>
            </a:r>
            <a:endParaRPr lang="en-US" b="1" dirty="0"/>
          </a:p>
        </p:txBody>
      </p:sp>
      <p:cxnSp>
        <p:nvCxnSpPr>
          <p:cNvPr id="87" name="Straight Connector 86">
            <a:extLst>
              <a:ext uri="{FF2B5EF4-FFF2-40B4-BE49-F238E27FC236}">
                <a16:creationId xmlns:a16="http://schemas.microsoft.com/office/drawing/2014/main" id="{4A261815-3363-A72A-23A5-A72E3E6ED436}"/>
              </a:ext>
            </a:extLst>
          </p:cNvPr>
          <p:cNvCxnSpPr>
            <a:cxnSpLocks/>
          </p:cNvCxnSpPr>
          <p:nvPr/>
        </p:nvCxnSpPr>
        <p:spPr>
          <a:xfrm>
            <a:off x="457080" y="1464253"/>
            <a:ext cx="11449170" cy="0"/>
          </a:xfrm>
          <a:prstGeom prst="line">
            <a:avLst/>
          </a:prstGeom>
          <a:ln w="17145" cap="flat" cmpd="sng" algn="ctr">
            <a:solidFill>
              <a:srgbClr val="000000"/>
            </a:solidFill>
            <a:prstDash val="solid"/>
            <a:round/>
            <a:headEnd type="none" w="med" len="med"/>
            <a:tailEnd type="none" w="med" len="med"/>
          </a:ln>
        </p:spPr>
      </p:cxnSp>
      <p:cxnSp>
        <p:nvCxnSpPr>
          <p:cNvPr id="59" name="Straight Connector 58">
            <a:extLst>
              <a:ext uri="{FF2B5EF4-FFF2-40B4-BE49-F238E27FC236}">
                <a16:creationId xmlns:a16="http://schemas.microsoft.com/office/drawing/2014/main" id="{C2A97701-47D0-9BEF-D0CE-D576BB47785A}"/>
              </a:ext>
            </a:extLst>
          </p:cNvPr>
          <p:cNvCxnSpPr/>
          <p:nvPr/>
        </p:nvCxnSpPr>
        <p:spPr>
          <a:xfrm>
            <a:off x="457078" y="3456185"/>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91790CB-907C-864C-6EE1-ACC8767A8BF3}"/>
              </a:ext>
            </a:extLst>
          </p:cNvPr>
          <p:cNvCxnSpPr>
            <a:cxnSpLocks/>
          </p:cNvCxnSpPr>
          <p:nvPr/>
        </p:nvCxnSpPr>
        <p:spPr>
          <a:xfrm>
            <a:off x="457080" y="2452067"/>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3DDCF288-9E56-D417-9584-6377F9D333AE}"/>
              </a:ext>
            </a:extLst>
          </p:cNvPr>
          <p:cNvSpPr/>
          <p:nvPr/>
        </p:nvSpPr>
        <p:spPr>
          <a:xfrm>
            <a:off x="457080" y="1482251"/>
            <a:ext cx="925939" cy="935514"/>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Research</a:t>
            </a:r>
          </a:p>
        </p:txBody>
      </p:sp>
      <p:sp>
        <p:nvSpPr>
          <p:cNvPr id="54" name="Rectangle 53">
            <a:extLst>
              <a:ext uri="{FF2B5EF4-FFF2-40B4-BE49-F238E27FC236}">
                <a16:creationId xmlns:a16="http://schemas.microsoft.com/office/drawing/2014/main" id="{E9FEA665-EFD7-2E15-B4FA-0D52BC2520D5}"/>
              </a:ext>
            </a:extLst>
          </p:cNvPr>
          <p:cNvSpPr/>
          <p:nvPr/>
        </p:nvSpPr>
        <p:spPr>
          <a:xfrm>
            <a:off x="457080" y="2486369"/>
            <a:ext cx="925939" cy="935514"/>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Norms &amp;</a:t>
            </a:r>
          </a:p>
          <a:p>
            <a:pPr algn="ctr"/>
            <a:r>
              <a:rPr lang="en-US" sz="990" dirty="0">
                <a:solidFill>
                  <a:srgbClr val="262626"/>
                </a:solidFill>
              </a:rPr>
              <a:t>Standards</a:t>
            </a:r>
          </a:p>
        </p:txBody>
      </p:sp>
      <p:sp>
        <p:nvSpPr>
          <p:cNvPr id="56" name="Rectangle 55">
            <a:extLst>
              <a:ext uri="{FF2B5EF4-FFF2-40B4-BE49-F238E27FC236}">
                <a16:creationId xmlns:a16="http://schemas.microsoft.com/office/drawing/2014/main" id="{D82998C8-64CD-17B6-3A21-DCDBF916ADF3}"/>
              </a:ext>
            </a:extLst>
          </p:cNvPr>
          <p:cNvSpPr/>
          <p:nvPr/>
        </p:nvSpPr>
        <p:spPr>
          <a:xfrm>
            <a:off x="457080" y="3501268"/>
            <a:ext cx="925939" cy="1625768"/>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Implementation</a:t>
            </a:r>
          </a:p>
        </p:txBody>
      </p:sp>
      <p:sp>
        <p:nvSpPr>
          <p:cNvPr id="115" name="Rectangle 114">
            <a:extLst>
              <a:ext uri="{FF2B5EF4-FFF2-40B4-BE49-F238E27FC236}">
                <a16:creationId xmlns:a16="http://schemas.microsoft.com/office/drawing/2014/main" id="{E693E8B0-A1FF-9F8D-F99D-3CAE33B108DC}"/>
              </a:ext>
            </a:extLst>
          </p:cNvPr>
          <p:cNvSpPr/>
          <p:nvPr/>
        </p:nvSpPr>
        <p:spPr>
          <a:xfrm>
            <a:off x="457080" y="5232399"/>
            <a:ext cx="925939" cy="959717"/>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Advocacy</a:t>
            </a:r>
          </a:p>
        </p:txBody>
      </p:sp>
      <p:cxnSp>
        <p:nvCxnSpPr>
          <p:cNvPr id="116" name="Straight Connector 115">
            <a:extLst>
              <a:ext uri="{FF2B5EF4-FFF2-40B4-BE49-F238E27FC236}">
                <a16:creationId xmlns:a16="http://schemas.microsoft.com/office/drawing/2014/main" id="{3B9F747E-05CD-2096-5A92-265588BC9176}"/>
              </a:ext>
            </a:extLst>
          </p:cNvPr>
          <p:cNvCxnSpPr/>
          <p:nvPr/>
        </p:nvCxnSpPr>
        <p:spPr>
          <a:xfrm>
            <a:off x="457078" y="5161343"/>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BFD558AF-6B7D-2F9E-52CC-B7D254AD25E7}"/>
              </a:ext>
            </a:extLst>
          </p:cNvPr>
          <p:cNvSpPr/>
          <p:nvPr/>
        </p:nvSpPr>
        <p:spPr>
          <a:xfrm>
            <a:off x="10365666" y="1625491"/>
            <a:ext cx="1540584" cy="73866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dirty="0">
                <a:solidFill>
                  <a:srgbClr val="262626"/>
                </a:solidFill>
              </a:rPr>
              <a:t>All </a:t>
            </a:r>
            <a:r>
              <a:rPr lang="en-US" sz="1000" b="1" dirty="0">
                <a:solidFill>
                  <a:srgbClr val="0070C0"/>
                </a:solidFill>
              </a:rPr>
              <a:t>priority questions </a:t>
            </a:r>
            <a:r>
              <a:rPr lang="en-US" sz="1000" dirty="0">
                <a:solidFill>
                  <a:srgbClr val="262626"/>
                </a:solidFill>
              </a:rPr>
              <a:t>of the research agenda have been </a:t>
            </a:r>
            <a:r>
              <a:rPr lang="en-US" sz="1000" b="1" dirty="0">
                <a:solidFill>
                  <a:srgbClr val="0070C0"/>
                </a:solidFill>
              </a:rPr>
              <a:t>answered</a:t>
            </a:r>
          </a:p>
        </p:txBody>
      </p:sp>
      <p:sp>
        <p:nvSpPr>
          <p:cNvPr id="33" name="Rectangle 32">
            <a:extLst>
              <a:ext uri="{FF2B5EF4-FFF2-40B4-BE49-F238E27FC236}">
                <a16:creationId xmlns:a16="http://schemas.microsoft.com/office/drawing/2014/main" id="{A4E5630D-FDB3-13A9-83EF-81F32D1CC222}"/>
              </a:ext>
            </a:extLst>
          </p:cNvPr>
          <p:cNvSpPr/>
          <p:nvPr/>
        </p:nvSpPr>
        <p:spPr>
          <a:xfrm>
            <a:off x="10392215" y="2427559"/>
            <a:ext cx="1508298" cy="1058024"/>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b="1" dirty="0">
                <a:solidFill>
                  <a:srgbClr val="0070C0"/>
                </a:solidFill>
              </a:rPr>
              <a:t>Global guidelines </a:t>
            </a:r>
            <a:r>
              <a:rPr lang="en-US" sz="1000" dirty="0">
                <a:solidFill>
                  <a:srgbClr val="262626"/>
                </a:solidFill>
              </a:rPr>
              <a:t>reflect latest evidence available, and are cascaded into </a:t>
            </a:r>
            <a:r>
              <a:rPr lang="en-US" sz="1000" b="1" dirty="0">
                <a:solidFill>
                  <a:srgbClr val="0070C0"/>
                </a:solidFill>
              </a:rPr>
              <a:t>national guidelines</a:t>
            </a:r>
            <a:r>
              <a:rPr lang="en-US" sz="1000" dirty="0">
                <a:solidFill>
                  <a:srgbClr val="262626"/>
                </a:solidFill>
              </a:rPr>
              <a:t>, with clear clinical protocols</a:t>
            </a:r>
          </a:p>
        </p:txBody>
      </p:sp>
      <p:sp>
        <p:nvSpPr>
          <p:cNvPr id="37" name="Rectangle 36">
            <a:extLst>
              <a:ext uri="{FF2B5EF4-FFF2-40B4-BE49-F238E27FC236}">
                <a16:creationId xmlns:a16="http://schemas.microsoft.com/office/drawing/2014/main" id="{6F093D76-7A15-3A77-1CB1-5CBCB051ED5C}"/>
              </a:ext>
            </a:extLst>
          </p:cNvPr>
          <p:cNvSpPr/>
          <p:nvPr/>
        </p:nvSpPr>
        <p:spPr>
          <a:xfrm>
            <a:off x="10365666" y="5159713"/>
            <a:ext cx="1540584" cy="1118325"/>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Successful </a:t>
            </a:r>
            <a:r>
              <a:rPr lang="en-US" sz="1000" b="1" dirty="0">
                <a:solidFill>
                  <a:srgbClr val="0070C0"/>
                </a:solidFill>
              </a:rPr>
              <a:t>engagement</a:t>
            </a:r>
            <a:r>
              <a:rPr lang="en-US" sz="990" dirty="0">
                <a:solidFill>
                  <a:srgbClr val="262626"/>
                </a:solidFill>
              </a:rPr>
              <a:t> of all target audiences</a:t>
            </a:r>
          </a:p>
        </p:txBody>
      </p:sp>
      <p:sp>
        <p:nvSpPr>
          <p:cNvPr id="52" name="Rectangle 51">
            <a:extLst>
              <a:ext uri="{FF2B5EF4-FFF2-40B4-BE49-F238E27FC236}">
                <a16:creationId xmlns:a16="http://schemas.microsoft.com/office/drawing/2014/main" id="{880152E6-9F98-95E0-7F52-1D8F4B9FA47D}"/>
              </a:ext>
            </a:extLst>
          </p:cNvPr>
          <p:cNvSpPr/>
          <p:nvPr/>
        </p:nvSpPr>
        <p:spPr>
          <a:xfrm>
            <a:off x="10376637" y="980477"/>
            <a:ext cx="1529613" cy="293659"/>
          </a:xfrm>
          <a:prstGeom prst="rect">
            <a:avLst/>
          </a:prstGeom>
          <a:solidFill>
            <a:srgbClr val="CAE5E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06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0070C0"/>
                </a:solidFill>
              </a:rPr>
              <a:t>Objective</a:t>
            </a:r>
          </a:p>
        </p:txBody>
      </p:sp>
      <p:sp>
        <p:nvSpPr>
          <p:cNvPr id="29" name="Arrow: Chevron 28">
            <a:extLst>
              <a:ext uri="{FF2B5EF4-FFF2-40B4-BE49-F238E27FC236}">
                <a16:creationId xmlns:a16="http://schemas.microsoft.com/office/drawing/2014/main" id="{408B3DFE-0689-D9CC-1C1C-1CC48019BD29}"/>
              </a:ext>
            </a:extLst>
          </p:cNvPr>
          <p:cNvSpPr/>
          <p:nvPr/>
        </p:nvSpPr>
        <p:spPr>
          <a:xfrm>
            <a:off x="1448148" y="980477"/>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60" b="0" i="0" u="none" strike="noStrike" kern="1200" cap="none" spc="0" normalizeH="0" baseline="0" noProof="0" dirty="0">
                <a:ln>
                  <a:noFill/>
                </a:ln>
                <a:solidFill>
                  <a:srgbClr val="FFFFFF"/>
                </a:solidFill>
                <a:effectLst/>
                <a:uLnTx/>
                <a:uFillTx/>
                <a:ea typeface="+mn-ea"/>
                <a:cs typeface="+mn-cs"/>
              </a:rPr>
              <a:t>Q2 2023</a:t>
            </a:r>
          </a:p>
        </p:txBody>
      </p:sp>
      <p:sp>
        <p:nvSpPr>
          <p:cNvPr id="30" name="Arrow: Chevron 29">
            <a:extLst>
              <a:ext uri="{FF2B5EF4-FFF2-40B4-BE49-F238E27FC236}">
                <a16:creationId xmlns:a16="http://schemas.microsoft.com/office/drawing/2014/main" id="{58224400-680E-AA5E-4802-CAE45D742C2A}"/>
              </a:ext>
            </a:extLst>
          </p:cNvPr>
          <p:cNvSpPr/>
          <p:nvPr/>
        </p:nvSpPr>
        <p:spPr>
          <a:xfrm>
            <a:off x="2259829" y="980477"/>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defRPr/>
            </a:pPr>
            <a:r>
              <a:rPr kumimoji="0" lang="fr-FR" sz="1260" b="0" i="0" u="none" strike="noStrike" kern="1200" cap="none" spc="0" normalizeH="0" baseline="0" noProof="0" dirty="0">
                <a:ln>
                  <a:noFill/>
                </a:ln>
                <a:solidFill>
                  <a:srgbClr val="FFFFFF"/>
                </a:solidFill>
                <a:effectLst/>
                <a:uLnTx/>
                <a:uFillTx/>
                <a:ea typeface="+mn-ea"/>
                <a:cs typeface="+mn-cs"/>
              </a:rPr>
              <a:t>Q3 2023</a:t>
            </a:r>
          </a:p>
        </p:txBody>
      </p:sp>
      <p:sp>
        <p:nvSpPr>
          <p:cNvPr id="31" name="Arrow: Chevron 30">
            <a:extLst>
              <a:ext uri="{FF2B5EF4-FFF2-40B4-BE49-F238E27FC236}">
                <a16:creationId xmlns:a16="http://schemas.microsoft.com/office/drawing/2014/main" id="{2249ADC3-CC27-8EDF-1EE9-0257B1C9AE3B}"/>
              </a:ext>
            </a:extLst>
          </p:cNvPr>
          <p:cNvSpPr/>
          <p:nvPr/>
        </p:nvSpPr>
        <p:spPr>
          <a:xfrm>
            <a:off x="3071509" y="980477"/>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60" b="0" i="0" u="none" strike="noStrike" kern="1200" cap="none" spc="0" normalizeH="0" baseline="0" noProof="0" dirty="0">
                <a:ln>
                  <a:noFill/>
                </a:ln>
                <a:solidFill>
                  <a:srgbClr val="FFFFFF"/>
                </a:solidFill>
                <a:effectLst/>
                <a:uLnTx/>
                <a:uFillTx/>
                <a:ea typeface="+mn-ea"/>
                <a:cs typeface="+mn-cs"/>
              </a:rPr>
              <a:t>Q4 2023</a:t>
            </a:r>
          </a:p>
        </p:txBody>
      </p:sp>
      <p:sp>
        <p:nvSpPr>
          <p:cNvPr id="40" name="Arrow: Chevron 39">
            <a:extLst>
              <a:ext uri="{FF2B5EF4-FFF2-40B4-BE49-F238E27FC236}">
                <a16:creationId xmlns:a16="http://schemas.microsoft.com/office/drawing/2014/main" id="{98859B9F-FB46-5306-7C97-857849C5976D}"/>
              </a:ext>
            </a:extLst>
          </p:cNvPr>
          <p:cNvSpPr/>
          <p:nvPr/>
        </p:nvSpPr>
        <p:spPr>
          <a:xfrm>
            <a:off x="685787" y="980477"/>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100" b="1" dirty="0">
                <a:solidFill>
                  <a:srgbClr val="002060"/>
                </a:solidFill>
              </a:rPr>
              <a:t>PPH</a:t>
            </a:r>
          </a:p>
          <a:p>
            <a:pPr algn="ctr"/>
            <a:r>
              <a:rPr lang="fr-FR" sz="1100" b="1" dirty="0">
                <a:solidFill>
                  <a:srgbClr val="002060"/>
                </a:solidFill>
              </a:rPr>
              <a:t>Summit</a:t>
            </a:r>
          </a:p>
        </p:txBody>
      </p:sp>
      <p:cxnSp>
        <p:nvCxnSpPr>
          <p:cNvPr id="102" name="Straight Connector 101">
            <a:extLst>
              <a:ext uri="{FF2B5EF4-FFF2-40B4-BE49-F238E27FC236}">
                <a16:creationId xmlns:a16="http://schemas.microsoft.com/office/drawing/2014/main" id="{C7CB1139-2B0A-F637-FADA-08F2A7625CC4}"/>
              </a:ext>
            </a:extLst>
          </p:cNvPr>
          <p:cNvCxnSpPr/>
          <p:nvPr/>
        </p:nvCxnSpPr>
        <p:spPr>
          <a:xfrm>
            <a:off x="457080" y="6226424"/>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0EA3003D-523F-401E-8C20-A7691F51EAC6}"/>
              </a:ext>
            </a:extLst>
          </p:cNvPr>
          <p:cNvGrpSpPr/>
          <p:nvPr/>
        </p:nvGrpSpPr>
        <p:grpSpPr>
          <a:xfrm>
            <a:off x="457078" y="6497026"/>
            <a:ext cx="2775803" cy="169277"/>
            <a:chOff x="457277" y="5846680"/>
            <a:chExt cx="2775803" cy="169277"/>
          </a:xfrm>
        </p:grpSpPr>
        <p:sp>
          <p:nvSpPr>
            <p:cNvPr id="94" name="Isosceles Triangle 93">
              <a:extLst>
                <a:ext uri="{FF2B5EF4-FFF2-40B4-BE49-F238E27FC236}">
                  <a16:creationId xmlns:a16="http://schemas.microsoft.com/office/drawing/2014/main" id="{EA5F4053-2B51-42C8-B9F7-D8280841DBE6}"/>
                </a:ext>
              </a:extLst>
            </p:cNvPr>
            <p:cNvSpPr>
              <a:spLocks/>
            </p:cNvSpPr>
            <p:nvPr/>
          </p:nvSpPr>
          <p:spPr>
            <a:xfrm flipV="1">
              <a:off x="457277" y="5853892"/>
              <a:ext cx="202490" cy="154853"/>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p>
          </p:txBody>
        </p:sp>
        <p:sp>
          <p:nvSpPr>
            <p:cNvPr id="95" name="ee4pContent1">
              <a:extLst>
                <a:ext uri="{FF2B5EF4-FFF2-40B4-BE49-F238E27FC236}">
                  <a16:creationId xmlns:a16="http://schemas.microsoft.com/office/drawing/2014/main" id="{2B1BBCE6-993E-4A2B-A744-8E7371BDDA23}"/>
                </a:ext>
              </a:extLst>
            </p:cNvPr>
            <p:cNvSpPr txBox="1"/>
            <p:nvPr/>
          </p:nvSpPr>
          <p:spPr>
            <a:xfrm>
              <a:off x="713107" y="5846680"/>
              <a:ext cx="2519973" cy="1692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100" kern="1200" dirty="0">
                  <a:solidFill>
                    <a:srgbClr val="262626"/>
                  </a:solidFill>
                  <a:effectLst/>
                  <a:ea typeface="Calibri" panose="020F0502020204030204" pitchFamily="34" charset="0"/>
                  <a:cs typeface="Mangal" panose="02040503050203030202" pitchFamily="18" charset="0"/>
                </a:rPr>
                <a:t>Milestones non contingent on new funding </a:t>
              </a:r>
              <a:endParaRPr lang="en-US" sz="1100" dirty="0">
                <a:effectLst/>
                <a:ea typeface="Calibri" panose="020F0502020204030204" pitchFamily="34" charset="0"/>
                <a:cs typeface="Calibri" panose="020F0502020204030204" pitchFamily="34" charset="0"/>
              </a:endParaRPr>
            </a:p>
          </p:txBody>
        </p:sp>
      </p:grpSp>
      <p:grpSp>
        <p:nvGrpSpPr>
          <p:cNvPr id="76" name="Group 75">
            <a:extLst>
              <a:ext uri="{FF2B5EF4-FFF2-40B4-BE49-F238E27FC236}">
                <a16:creationId xmlns:a16="http://schemas.microsoft.com/office/drawing/2014/main" id="{24628872-717F-4F87-8072-840180CFFB57}"/>
              </a:ext>
            </a:extLst>
          </p:cNvPr>
          <p:cNvGrpSpPr/>
          <p:nvPr/>
        </p:nvGrpSpPr>
        <p:grpSpPr>
          <a:xfrm>
            <a:off x="3493262" y="6497026"/>
            <a:ext cx="2170256" cy="169277"/>
            <a:chOff x="913351" y="6281031"/>
            <a:chExt cx="2170256" cy="169277"/>
          </a:xfrm>
        </p:grpSpPr>
        <p:sp>
          <p:nvSpPr>
            <p:cNvPr id="92" name="Isosceles Triangle 91">
              <a:extLst>
                <a:ext uri="{FF2B5EF4-FFF2-40B4-BE49-F238E27FC236}">
                  <a16:creationId xmlns:a16="http://schemas.microsoft.com/office/drawing/2014/main" id="{D86C5BA4-1DB3-4A23-9B6D-22FEE03E2D58}"/>
                </a:ext>
              </a:extLst>
            </p:cNvPr>
            <p:cNvSpPr>
              <a:spLocks/>
            </p:cNvSpPr>
            <p:nvPr/>
          </p:nvSpPr>
          <p:spPr>
            <a:xfrm flipV="1">
              <a:off x="913351" y="6288243"/>
              <a:ext cx="202490" cy="154853"/>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p>
          </p:txBody>
        </p:sp>
        <p:sp>
          <p:nvSpPr>
            <p:cNvPr id="93" name="ee4pContent1">
              <a:extLst>
                <a:ext uri="{FF2B5EF4-FFF2-40B4-BE49-F238E27FC236}">
                  <a16:creationId xmlns:a16="http://schemas.microsoft.com/office/drawing/2014/main" id="{0D20737E-1FA9-4E3E-94C9-C86DD2FAF533}"/>
                </a:ext>
              </a:extLst>
            </p:cNvPr>
            <p:cNvSpPr txBox="1"/>
            <p:nvPr/>
          </p:nvSpPr>
          <p:spPr>
            <a:xfrm>
              <a:off x="1169181" y="6281031"/>
              <a:ext cx="1914426" cy="1692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kern="1200" dirty="0">
                  <a:solidFill>
                    <a:srgbClr val="262626"/>
                  </a:solidFill>
                  <a:effectLst/>
                  <a:ea typeface="Calibri" panose="020F0502020204030204" pitchFamily="34" charset="0"/>
                  <a:cs typeface="Mangal" panose="02040503050203030202" pitchFamily="18" charset="0"/>
                </a:rPr>
                <a:t>Milestones contingent on funding</a:t>
              </a:r>
              <a:endParaRPr lang="en-US" sz="1100" dirty="0">
                <a:effectLst/>
                <a:ea typeface="Calibri" panose="020F0502020204030204" pitchFamily="34" charset="0"/>
                <a:cs typeface="Calibri" panose="020F0502020204030204" pitchFamily="34" charset="0"/>
              </a:endParaRPr>
            </a:p>
          </p:txBody>
        </p:sp>
      </p:grpSp>
      <p:grpSp>
        <p:nvGrpSpPr>
          <p:cNvPr id="77" name="Group 76">
            <a:extLst>
              <a:ext uri="{FF2B5EF4-FFF2-40B4-BE49-F238E27FC236}">
                <a16:creationId xmlns:a16="http://schemas.microsoft.com/office/drawing/2014/main" id="{0A7176CC-9B42-4594-97B3-5C82916E126B}"/>
              </a:ext>
            </a:extLst>
          </p:cNvPr>
          <p:cNvGrpSpPr/>
          <p:nvPr/>
        </p:nvGrpSpPr>
        <p:grpSpPr>
          <a:xfrm>
            <a:off x="5923899" y="6491812"/>
            <a:ext cx="1325870" cy="179705"/>
            <a:chOff x="4080944" y="6403416"/>
            <a:chExt cx="1325870" cy="179705"/>
          </a:xfrm>
        </p:grpSpPr>
        <p:sp>
          <p:nvSpPr>
            <p:cNvPr id="90" name="ee4pContent1">
              <a:extLst>
                <a:ext uri="{FF2B5EF4-FFF2-40B4-BE49-F238E27FC236}">
                  <a16:creationId xmlns:a16="http://schemas.microsoft.com/office/drawing/2014/main" id="{C5DFBE9D-68C2-4B7A-9B54-92ED2DDC032C}"/>
                </a:ext>
              </a:extLst>
            </p:cNvPr>
            <p:cNvSpPr txBox="1"/>
            <p:nvPr/>
          </p:nvSpPr>
          <p:spPr>
            <a:xfrm>
              <a:off x="4225718" y="6403416"/>
              <a:ext cx="1181096" cy="17970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kern="1200" dirty="0">
                  <a:solidFill>
                    <a:srgbClr val="262626"/>
                  </a:solidFill>
                  <a:effectLst/>
                  <a:ea typeface="Calibri" panose="020F0502020204030204" pitchFamily="34" charset="0"/>
                  <a:cs typeface="Mangal" panose="02040503050203030202" pitchFamily="18" charset="0"/>
                </a:rPr>
                <a:t>Interdependencies</a:t>
              </a:r>
              <a:endParaRPr lang="en-US" sz="1100" dirty="0">
                <a:effectLst/>
                <a:ea typeface="Calibri" panose="020F0502020204030204" pitchFamily="34" charset="0"/>
                <a:cs typeface="Calibri" panose="020F0502020204030204" pitchFamily="34" charset="0"/>
              </a:endParaRPr>
            </a:p>
          </p:txBody>
        </p:sp>
        <p:cxnSp>
          <p:nvCxnSpPr>
            <p:cNvPr id="91" name="Connector: Curved 90">
              <a:extLst>
                <a:ext uri="{FF2B5EF4-FFF2-40B4-BE49-F238E27FC236}">
                  <a16:creationId xmlns:a16="http://schemas.microsoft.com/office/drawing/2014/main" id="{33AA0476-5935-4C62-AD99-07DF361F3E37}"/>
                </a:ext>
              </a:extLst>
            </p:cNvPr>
            <p:cNvCxnSpPr>
              <a:cxnSpLocks/>
            </p:cNvCxnSpPr>
            <p:nvPr/>
          </p:nvCxnSpPr>
          <p:spPr>
            <a:xfrm rot="16200000" flipH="1">
              <a:off x="4033253" y="6470412"/>
              <a:ext cx="141097" cy="45715"/>
            </a:xfrm>
            <a:prstGeom prst="curvedConnector4">
              <a:avLst>
                <a:gd name="adj1" fmla="val -18601"/>
                <a:gd name="adj2" fmla="val 176689"/>
              </a:avLst>
            </a:prstGeom>
            <a:noFill/>
            <a:ln w="9525" cap="rnd" cmpd="sng" algn="ctr">
              <a:solidFill>
                <a:srgbClr val="006037"/>
              </a:solidFill>
              <a:prstDash val="sysDash"/>
              <a:round/>
              <a:headEnd type="none" w="med" len="med"/>
              <a:tailEnd type="triangle" w="med" len="med"/>
            </a:ln>
            <a:effectLst/>
          </p:spPr>
        </p:cxnSp>
      </p:grpSp>
      <p:sp>
        <p:nvSpPr>
          <p:cNvPr id="11" name="ee4pContent1">
            <a:extLst>
              <a:ext uri="{FF2B5EF4-FFF2-40B4-BE49-F238E27FC236}">
                <a16:creationId xmlns:a16="http://schemas.microsoft.com/office/drawing/2014/main" id="{5A8E58FF-24CA-4E59-1396-04AFEE381A04}"/>
              </a:ext>
            </a:extLst>
          </p:cNvPr>
          <p:cNvSpPr txBox="1"/>
          <p:nvPr/>
        </p:nvSpPr>
        <p:spPr>
          <a:xfrm>
            <a:off x="3915441" y="3640964"/>
            <a:ext cx="5852942" cy="20103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dirty="0">
                <a:solidFill>
                  <a:srgbClr val="002060"/>
                </a:solidFill>
              </a:rPr>
              <a:t>PPH guideline </a:t>
            </a:r>
            <a:r>
              <a:rPr lang="en-US" sz="1100" b="1" dirty="0">
                <a:solidFill>
                  <a:srgbClr val="002060"/>
                </a:solidFill>
              </a:rPr>
              <a:t>adaptation and adoption</a:t>
            </a:r>
            <a:r>
              <a:rPr lang="en-US" sz="1100" kern="1200" dirty="0">
                <a:solidFill>
                  <a:srgbClr val="262626"/>
                </a:solidFill>
                <a:effectLst/>
              </a:rPr>
              <a:t> to support dissemination and implementation in-country</a:t>
            </a:r>
            <a:endParaRPr lang="en-US" sz="1100" dirty="0">
              <a:solidFill>
                <a:srgbClr val="262626"/>
              </a:solidFill>
            </a:endParaRPr>
          </a:p>
        </p:txBody>
      </p:sp>
      <p:sp>
        <p:nvSpPr>
          <p:cNvPr id="23" name="Text Box 1595">
            <a:extLst>
              <a:ext uri="{FF2B5EF4-FFF2-40B4-BE49-F238E27FC236}">
                <a16:creationId xmlns:a16="http://schemas.microsoft.com/office/drawing/2014/main" id="{71BF2B06-548F-149D-863B-77C1F89341D5}"/>
              </a:ext>
            </a:extLst>
          </p:cNvPr>
          <p:cNvSpPr txBox="1"/>
          <p:nvPr/>
        </p:nvSpPr>
        <p:spPr>
          <a:xfrm>
            <a:off x="2862286" y="4036119"/>
            <a:ext cx="7387277" cy="15234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wrap="square" lIns="0" tIns="0" rIns="0" bIns="0" anchor="ctr">
            <a:spAutoFit/>
          </a:bodyPr>
          <a:lstStyle/>
          <a:p>
            <a:pPr algn="ctr">
              <a:lnSpc>
                <a:spcPct val="90000"/>
              </a:lnSpc>
            </a:pPr>
            <a:r>
              <a:rPr lang="en-US" sz="1100" dirty="0">
                <a:solidFill>
                  <a:srgbClr val="262626"/>
                </a:solidFill>
              </a:rPr>
              <a:t>Support authorization of full scope of practice for </a:t>
            </a:r>
            <a:r>
              <a:rPr lang="en-US" sz="1100" b="1" dirty="0">
                <a:solidFill>
                  <a:srgbClr val="002060"/>
                </a:solidFill>
              </a:rPr>
              <a:t>midwifery and other cadres; capacity building, professional development</a:t>
            </a:r>
          </a:p>
        </p:txBody>
      </p:sp>
      <p:cxnSp>
        <p:nvCxnSpPr>
          <p:cNvPr id="35" name="Straight Connector 34">
            <a:extLst>
              <a:ext uri="{FF2B5EF4-FFF2-40B4-BE49-F238E27FC236}">
                <a16:creationId xmlns:a16="http://schemas.microsoft.com/office/drawing/2014/main" id="{8E7FEAEE-534D-FF37-2149-C6EC818B7241}"/>
              </a:ext>
            </a:extLst>
          </p:cNvPr>
          <p:cNvCxnSpPr>
            <a:cxnSpLocks/>
          </p:cNvCxnSpPr>
          <p:nvPr/>
        </p:nvCxnSpPr>
        <p:spPr>
          <a:xfrm flipH="1">
            <a:off x="2862286" y="3967271"/>
            <a:ext cx="7387277" cy="11989"/>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7" name="Straight Connector 6">
            <a:extLst>
              <a:ext uri="{FF2B5EF4-FFF2-40B4-BE49-F238E27FC236}">
                <a16:creationId xmlns:a16="http://schemas.microsoft.com/office/drawing/2014/main" id="{43C497AC-852A-7A00-2F33-42AFBE81BE6A}"/>
              </a:ext>
            </a:extLst>
          </p:cNvPr>
          <p:cNvCxnSpPr>
            <a:cxnSpLocks/>
          </p:cNvCxnSpPr>
          <p:nvPr/>
        </p:nvCxnSpPr>
        <p:spPr>
          <a:xfrm flipH="1">
            <a:off x="2862286" y="3605624"/>
            <a:ext cx="7387277" cy="22464"/>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9" name="Arrow: Chevron 8">
            <a:extLst>
              <a:ext uri="{FF2B5EF4-FFF2-40B4-BE49-F238E27FC236}">
                <a16:creationId xmlns:a16="http://schemas.microsoft.com/office/drawing/2014/main" id="{020EC07A-C194-47A8-25DE-F7571D1E7EEF}"/>
              </a:ext>
            </a:extLst>
          </p:cNvPr>
          <p:cNvSpPr/>
          <p:nvPr/>
        </p:nvSpPr>
        <p:spPr>
          <a:xfrm>
            <a:off x="3883190" y="980477"/>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H1 2024</a:t>
            </a:r>
          </a:p>
        </p:txBody>
      </p:sp>
      <p:sp>
        <p:nvSpPr>
          <p:cNvPr id="10" name="Arrow: Chevron 9">
            <a:extLst>
              <a:ext uri="{FF2B5EF4-FFF2-40B4-BE49-F238E27FC236}">
                <a16:creationId xmlns:a16="http://schemas.microsoft.com/office/drawing/2014/main" id="{853F302A-30AA-1E53-F95B-77BB1EAEBB0E}"/>
              </a:ext>
            </a:extLst>
          </p:cNvPr>
          <p:cNvSpPr/>
          <p:nvPr/>
        </p:nvSpPr>
        <p:spPr>
          <a:xfrm>
            <a:off x="4694871" y="980477"/>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H2 2024</a:t>
            </a:r>
          </a:p>
        </p:txBody>
      </p:sp>
      <p:sp>
        <p:nvSpPr>
          <p:cNvPr id="14" name="Arrow: Chevron 13">
            <a:extLst>
              <a:ext uri="{FF2B5EF4-FFF2-40B4-BE49-F238E27FC236}">
                <a16:creationId xmlns:a16="http://schemas.microsoft.com/office/drawing/2014/main" id="{F19BC3E8-C53A-504A-73DB-628DB23406B3}"/>
              </a:ext>
            </a:extLst>
          </p:cNvPr>
          <p:cNvSpPr/>
          <p:nvPr/>
        </p:nvSpPr>
        <p:spPr>
          <a:xfrm>
            <a:off x="5506552"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5</a:t>
            </a:r>
          </a:p>
        </p:txBody>
      </p:sp>
      <p:sp>
        <p:nvSpPr>
          <p:cNvPr id="18" name="Arrow: Chevron 17">
            <a:extLst>
              <a:ext uri="{FF2B5EF4-FFF2-40B4-BE49-F238E27FC236}">
                <a16:creationId xmlns:a16="http://schemas.microsoft.com/office/drawing/2014/main" id="{9DE94C0F-0E73-B081-4B90-6C40FF8110B9}"/>
              </a:ext>
            </a:extLst>
          </p:cNvPr>
          <p:cNvSpPr/>
          <p:nvPr/>
        </p:nvSpPr>
        <p:spPr>
          <a:xfrm>
            <a:off x="6318233"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6</a:t>
            </a:r>
          </a:p>
        </p:txBody>
      </p:sp>
      <p:sp>
        <p:nvSpPr>
          <p:cNvPr id="19" name="Arrow: Chevron 18">
            <a:extLst>
              <a:ext uri="{FF2B5EF4-FFF2-40B4-BE49-F238E27FC236}">
                <a16:creationId xmlns:a16="http://schemas.microsoft.com/office/drawing/2014/main" id="{558921A1-DE87-5394-C9A1-5597DB0B5937}"/>
              </a:ext>
            </a:extLst>
          </p:cNvPr>
          <p:cNvSpPr/>
          <p:nvPr/>
        </p:nvSpPr>
        <p:spPr>
          <a:xfrm>
            <a:off x="7129914"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7</a:t>
            </a:r>
          </a:p>
        </p:txBody>
      </p:sp>
      <p:sp>
        <p:nvSpPr>
          <p:cNvPr id="20" name="Arrow: Chevron 19">
            <a:extLst>
              <a:ext uri="{FF2B5EF4-FFF2-40B4-BE49-F238E27FC236}">
                <a16:creationId xmlns:a16="http://schemas.microsoft.com/office/drawing/2014/main" id="{B5725187-8419-6D9B-1907-92E05E78DFEF}"/>
              </a:ext>
            </a:extLst>
          </p:cNvPr>
          <p:cNvSpPr/>
          <p:nvPr/>
        </p:nvSpPr>
        <p:spPr>
          <a:xfrm>
            <a:off x="7941594"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8</a:t>
            </a:r>
          </a:p>
        </p:txBody>
      </p:sp>
      <p:sp>
        <p:nvSpPr>
          <p:cNvPr id="22" name="Arrow: Chevron 21">
            <a:extLst>
              <a:ext uri="{FF2B5EF4-FFF2-40B4-BE49-F238E27FC236}">
                <a16:creationId xmlns:a16="http://schemas.microsoft.com/office/drawing/2014/main" id="{FEB32FC3-1FC1-DAFB-6834-ACF74B8616AE}"/>
              </a:ext>
            </a:extLst>
          </p:cNvPr>
          <p:cNvSpPr/>
          <p:nvPr/>
        </p:nvSpPr>
        <p:spPr>
          <a:xfrm>
            <a:off x="8753275"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9</a:t>
            </a:r>
          </a:p>
        </p:txBody>
      </p:sp>
      <p:sp>
        <p:nvSpPr>
          <p:cNvPr id="24" name="Arrow: Chevron 23">
            <a:extLst>
              <a:ext uri="{FF2B5EF4-FFF2-40B4-BE49-F238E27FC236}">
                <a16:creationId xmlns:a16="http://schemas.microsoft.com/office/drawing/2014/main" id="{CECC5BBF-22C3-107A-7C63-58A343BFCE5C}"/>
              </a:ext>
            </a:extLst>
          </p:cNvPr>
          <p:cNvSpPr/>
          <p:nvPr/>
        </p:nvSpPr>
        <p:spPr>
          <a:xfrm>
            <a:off x="9564956"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30</a:t>
            </a:r>
          </a:p>
        </p:txBody>
      </p:sp>
      <p:grpSp>
        <p:nvGrpSpPr>
          <p:cNvPr id="6" name="Group 5">
            <a:extLst>
              <a:ext uri="{FF2B5EF4-FFF2-40B4-BE49-F238E27FC236}">
                <a16:creationId xmlns:a16="http://schemas.microsoft.com/office/drawing/2014/main" id="{A2854550-FE5C-5BE3-4111-F82620C0182D}"/>
              </a:ext>
            </a:extLst>
          </p:cNvPr>
          <p:cNvGrpSpPr/>
          <p:nvPr/>
        </p:nvGrpSpPr>
        <p:grpSpPr>
          <a:xfrm>
            <a:off x="1430441" y="1477755"/>
            <a:ext cx="1213507" cy="4665628"/>
            <a:chOff x="1430441" y="1907719"/>
            <a:chExt cx="1213507" cy="3882847"/>
          </a:xfrm>
        </p:grpSpPr>
        <p:grpSp>
          <p:nvGrpSpPr>
            <p:cNvPr id="8" name="Group 7">
              <a:extLst>
                <a:ext uri="{FF2B5EF4-FFF2-40B4-BE49-F238E27FC236}">
                  <a16:creationId xmlns:a16="http://schemas.microsoft.com/office/drawing/2014/main" id="{61AD188B-240B-D8A2-0564-99DFAFB0C2D1}"/>
                </a:ext>
              </a:extLst>
            </p:cNvPr>
            <p:cNvGrpSpPr/>
            <p:nvPr/>
          </p:nvGrpSpPr>
          <p:grpSpPr>
            <a:xfrm>
              <a:off x="1757448" y="1907719"/>
              <a:ext cx="232206" cy="3882847"/>
              <a:chOff x="1757448" y="1907719"/>
              <a:chExt cx="232206" cy="3882847"/>
            </a:xfrm>
          </p:grpSpPr>
          <p:sp>
            <p:nvSpPr>
              <p:cNvPr id="13" name="Rectangle 12">
                <a:extLst>
                  <a:ext uri="{FF2B5EF4-FFF2-40B4-BE49-F238E27FC236}">
                    <a16:creationId xmlns:a16="http://schemas.microsoft.com/office/drawing/2014/main" id="{F2E10553-716D-0F65-E092-AB4A468CBBEF}"/>
                  </a:ext>
                </a:extLst>
              </p:cNvPr>
              <p:cNvSpPr/>
              <p:nvPr/>
            </p:nvSpPr>
            <p:spPr>
              <a:xfrm>
                <a:off x="1757448" y="1907719"/>
                <a:ext cx="232206" cy="3882847"/>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15" name="Straight Connector 14">
                <a:extLst>
                  <a:ext uri="{FF2B5EF4-FFF2-40B4-BE49-F238E27FC236}">
                    <a16:creationId xmlns:a16="http://schemas.microsoft.com/office/drawing/2014/main" id="{5792E5A6-594B-A0FB-E5D0-F84331DD7622}"/>
                  </a:ext>
                </a:extLst>
              </p:cNvPr>
              <p:cNvCxnSpPr>
                <a:cxnSpLocks/>
                <a:stCxn id="13" idx="2"/>
              </p:cNvCxnSpPr>
              <p:nvPr/>
            </p:nvCxnSpPr>
            <p:spPr>
              <a:xfrm flipH="1" flipV="1">
                <a:off x="1859662" y="1952250"/>
                <a:ext cx="13889" cy="3838316"/>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16" name="Isosceles Triangle 15">
                <a:extLst>
                  <a:ext uri="{FF2B5EF4-FFF2-40B4-BE49-F238E27FC236}">
                    <a16:creationId xmlns:a16="http://schemas.microsoft.com/office/drawing/2014/main" id="{6F7ECD1B-6778-48E0-F427-46E6117DF74B}"/>
                  </a:ext>
                </a:extLst>
              </p:cNvPr>
              <p:cNvSpPr>
                <a:spLocks/>
              </p:cNvSpPr>
              <p:nvPr/>
            </p:nvSpPr>
            <p:spPr>
              <a:xfrm flipV="1">
                <a:off x="1782422" y="3319937"/>
                <a:ext cx="182257" cy="140352"/>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381" tIns="64191" rIns="128381" bIns="641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ea typeface="+mn-ea"/>
                  <a:cs typeface="Calibri Light" panose="020F0302020204030204" pitchFamily="34" charset="0"/>
                  <a:sym typeface="Calibri Light" panose="020F0302020204030204" pitchFamily="34" charset="0"/>
                </a:endParaRPr>
              </a:p>
            </p:txBody>
          </p:sp>
        </p:grpSp>
        <p:sp>
          <p:nvSpPr>
            <p:cNvPr id="12" name="ee4pContent1">
              <a:extLst>
                <a:ext uri="{FF2B5EF4-FFF2-40B4-BE49-F238E27FC236}">
                  <a16:creationId xmlns:a16="http://schemas.microsoft.com/office/drawing/2014/main" id="{3598824A-BB5F-E9BA-79BC-DF281D2AE343}"/>
                </a:ext>
              </a:extLst>
            </p:cNvPr>
            <p:cNvSpPr txBox="1"/>
            <p:nvPr/>
          </p:nvSpPr>
          <p:spPr>
            <a:xfrm>
              <a:off x="1430441" y="3473783"/>
              <a:ext cx="1213507" cy="1015663"/>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r>
                <a:rPr lang="en-US" sz="1100" b="1" kern="1200" dirty="0">
                  <a:solidFill>
                    <a:srgbClr val="002060"/>
                  </a:solidFill>
                  <a:effectLst/>
                </a:rPr>
                <a:t>IMNHC</a:t>
              </a:r>
              <a:r>
                <a:rPr lang="en-US" sz="1100" kern="1200" dirty="0">
                  <a:solidFill>
                    <a:srgbClr val="262626"/>
                  </a:solidFill>
                  <a:effectLst/>
                </a:rPr>
                <a:t> – </a:t>
              </a:r>
              <a:r>
                <a:rPr lang="en-US" sz="1100" b="1" dirty="0">
                  <a:solidFill>
                    <a:srgbClr val="002060"/>
                  </a:solidFill>
                </a:rPr>
                <a:t>launch of the RoadMap</a:t>
              </a:r>
              <a:r>
                <a:rPr lang="en-US" sz="1100" kern="1200" dirty="0">
                  <a:solidFill>
                    <a:srgbClr val="262626"/>
                  </a:solidFill>
                  <a:effectLst/>
                </a:rPr>
                <a:t>, including research, normative, implementation, and advocacy agendas</a:t>
              </a:r>
              <a:endParaRPr lang="en-US" sz="1100" dirty="0">
                <a:effectLst/>
                <a:ea typeface="Calibri" panose="020F0502020204030204" pitchFamily="34" charset="0"/>
                <a:cs typeface="Calibri" panose="020F0502020204030204" pitchFamily="34" charset="0"/>
              </a:endParaRPr>
            </a:p>
          </p:txBody>
        </p:sp>
      </p:grpSp>
      <p:sp>
        <p:nvSpPr>
          <p:cNvPr id="17" name="Arrow: Chevron 16">
            <a:extLst>
              <a:ext uri="{FF2B5EF4-FFF2-40B4-BE49-F238E27FC236}">
                <a16:creationId xmlns:a16="http://schemas.microsoft.com/office/drawing/2014/main" id="{EBF4425C-E4C1-6C43-1097-23D11C284FA1}"/>
              </a:ext>
            </a:extLst>
          </p:cNvPr>
          <p:cNvSpPr/>
          <p:nvPr/>
        </p:nvSpPr>
        <p:spPr>
          <a:xfrm>
            <a:off x="10322684" y="985824"/>
            <a:ext cx="99299" cy="299159"/>
          </a:xfrm>
          <a:prstGeom prst="chevron">
            <a:avLst>
              <a:gd name="adj" fmla="val 34514"/>
            </a:avLst>
          </a:prstGeom>
          <a:solidFill>
            <a:srgbClr val="FFFFFF"/>
          </a:solidFill>
          <a:ln w="8572"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endParaRPr kumimoji="0" lang="fr-FR" sz="1260" b="0" i="0" u="none" strike="noStrike" kern="1200" cap="none" spc="0" normalizeH="0" baseline="0" noProof="0" dirty="0">
              <a:ln>
                <a:noFill/>
              </a:ln>
              <a:solidFill>
                <a:srgbClr val="0070C0"/>
              </a:solidFill>
              <a:effectLst/>
              <a:uLnTx/>
              <a:uFillTx/>
              <a:ea typeface="+mn-ea"/>
              <a:cs typeface="+mn-cs"/>
            </a:endParaRPr>
          </a:p>
        </p:txBody>
      </p:sp>
      <p:sp>
        <p:nvSpPr>
          <p:cNvPr id="25" name="Rectangle 24">
            <a:extLst>
              <a:ext uri="{FF2B5EF4-FFF2-40B4-BE49-F238E27FC236}">
                <a16:creationId xmlns:a16="http://schemas.microsoft.com/office/drawing/2014/main" id="{4FE7E2C8-BE65-B73C-5B15-08029DA18EC9}"/>
              </a:ext>
            </a:extLst>
          </p:cNvPr>
          <p:cNvSpPr/>
          <p:nvPr/>
        </p:nvSpPr>
        <p:spPr>
          <a:xfrm>
            <a:off x="10365666" y="3489866"/>
            <a:ext cx="1540584" cy="1581934"/>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dirty="0">
                <a:solidFill>
                  <a:srgbClr val="262626"/>
                </a:solidFill>
              </a:rPr>
              <a:t>Priority implementation</a:t>
            </a:r>
            <a:br>
              <a:rPr lang="en-US" sz="1000" dirty="0">
                <a:solidFill>
                  <a:srgbClr val="262626"/>
                </a:solidFill>
              </a:rPr>
            </a:br>
            <a:r>
              <a:rPr lang="en-US" sz="1000" b="1" dirty="0">
                <a:solidFill>
                  <a:srgbClr val="0070C0"/>
                </a:solidFill>
              </a:rPr>
              <a:t>bottlenecks</a:t>
            </a:r>
            <a:r>
              <a:rPr lang="en-US" sz="1000" dirty="0">
                <a:solidFill>
                  <a:srgbClr val="262626"/>
                </a:solidFill>
              </a:rPr>
              <a:t> </a:t>
            </a:r>
            <a:r>
              <a:rPr lang="en-US" sz="1000" b="1" dirty="0">
                <a:solidFill>
                  <a:srgbClr val="0070C0"/>
                </a:solidFill>
              </a:rPr>
              <a:t>and</a:t>
            </a:r>
            <a:r>
              <a:rPr lang="en-US" sz="1000" dirty="0">
                <a:solidFill>
                  <a:srgbClr val="262626"/>
                </a:solidFill>
              </a:rPr>
              <a:t> </a:t>
            </a:r>
            <a:r>
              <a:rPr lang="en-US" sz="1000" b="1" dirty="0">
                <a:solidFill>
                  <a:srgbClr val="0070C0"/>
                </a:solidFill>
              </a:rPr>
              <a:t>hurdles</a:t>
            </a:r>
            <a:r>
              <a:rPr lang="en-US" sz="1000" dirty="0">
                <a:solidFill>
                  <a:srgbClr val="262626"/>
                </a:solidFill>
              </a:rPr>
              <a:t>, incl. context-specific ones, have been </a:t>
            </a:r>
            <a:r>
              <a:rPr lang="en-US" sz="1000" b="1" dirty="0">
                <a:solidFill>
                  <a:srgbClr val="0070C0"/>
                </a:solidFill>
              </a:rPr>
              <a:t>removed</a:t>
            </a:r>
          </a:p>
        </p:txBody>
      </p:sp>
      <p:sp>
        <p:nvSpPr>
          <p:cNvPr id="61" name="Rectangle 60">
            <a:extLst>
              <a:ext uri="{FF2B5EF4-FFF2-40B4-BE49-F238E27FC236}">
                <a16:creationId xmlns:a16="http://schemas.microsoft.com/office/drawing/2014/main" id="{40FA86D6-BE43-B409-5EB7-227C2F3C9150}"/>
              </a:ext>
            </a:extLst>
          </p:cNvPr>
          <p:cNvSpPr/>
          <p:nvPr/>
        </p:nvSpPr>
        <p:spPr>
          <a:xfrm>
            <a:off x="213360" y="1486533"/>
            <a:ext cx="152590" cy="4705584"/>
          </a:xfrm>
          <a:prstGeom prst="rect">
            <a:avLst/>
          </a:prstGeom>
          <a:solidFill>
            <a:srgbClr val="CAE5E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100" dirty="0">
                <a:solidFill>
                  <a:srgbClr val="0070C0"/>
                </a:solidFill>
              </a:rPr>
              <a:t>Strategic areas</a:t>
            </a:r>
          </a:p>
        </p:txBody>
      </p:sp>
    </p:spTree>
    <p:extLst>
      <p:ext uri="{BB962C8B-B14F-4D97-AF65-F5344CB8AC3E}">
        <p14:creationId xmlns:p14="http://schemas.microsoft.com/office/powerpoint/2010/main" val="2852391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27431F-ECC8-4C5F-09A4-F07431047F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Object 3" hidden="1">
                        <a:extLst>
                          <a:ext uri="{FF2B5EF4-FFF2-40B4-BE49-F238E27FC236}">
                            <a16:creationId xmlns:a16="http://schemas.microsoft.com/office/drawing/2014/main" id="{EA27431F-ECC8-4C5F-09A4-F07431047F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a:extLst>
              <a:ext uri="{FF2B5EF4-FFF2-40B4-BE49-F238E27FC236}">
                <a16:creationId xmlns:a16="http://schemas.microsoft.com/office/drawing/2014/main" id="{5FBBC4E6-86FD-63A9-49D4-1ADD15CB86B2}"/>
              </a:ext>
            </a:extLst>
          </p:cNvPr>
          <p:cNvSpPr/>
          <p:nvPr/>
        </p:nvSpPr>
        <p:spPr>
          <a:xfrm>
            <a:off x="10376637" y="1410964"/>
            <a:ext cx="1529613" cy="4829180"/>
          </a:xfrm>
          <a:prstGeom prst="rect">
            <a:avLst/>
          </a:prstGeom>
          <a:solidFill>
            <a:srgbClr val="CAE5E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06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a:extLst>
              <a:ext uri="{FF2B5EF4-FFF2-40B4-BE49-F238E27FC236}">
                <a16:creationId xmlns:a16="http://schemas.microsoft.com/office/drawing/2014/main" id="{8E40274F-E4B1-6B1E-4757-E5678CAE32AA}"/>
              </a:ext>
            </a:extLst>
          </p:cNvPr>
          <p:cNvSpPr>
            <a:spLocks noGrp="1"/>
          </p:cNvSpPr>
          <p:nvPr>
            <p:ph type="title"/>
          </p:nvPr>
        </p:nvSpPr>
        <p:spPr>
          <a:xfrm>
            <a:off x="459784" y="576503"/>
            <a:ext cx="11082528" cy="332399"/>
          </a:xfrm>
        </p:spPr>
        <p:txBody>
          <a:bodyPr vert="horz"/>
          <a:lstStyle/>
          <a:p>
            <a:r>
              <a:rPr lang="en-US" b="1" dirty="0"/>
              <a:t>Roadmap to accelerate progress on Postpartum </a:t>
            </a:r>
            <a:r>
              <a:rPr lang="en-US" b="1" dirty="0" err="1"/>
              <a:t>Haemorrhage</a:t>
            </a:r>
            <a:endParaRPr lang="en-US" b="1" dirty="0"/>
          </a:p>
        </p:txBody>
      </p:sp>
      <p:sp>
        <p:nvSpPr>
          <p:cNvPr id="71" name="Isosceles Triangle 70">
            <a:extLst>
              <a:ext uri="{FF2B5EF4-FFF2-40B4-BE49-F238E27FC236}">
                <a16:creationId xmlns:a16="http://schemas.microsoft.com/office/drawing/2014/main" id="{6D471EAA-EFC1-964C-8A0C-74F39F8D3C52}"/>
              </a:ext>
            </a:extLst>
          </p:cNvPr>
          <p:cNvSpPr>
            <a:spLocks/>
          </p:cNvSpPr>
          <p:nvPr/>
        </p:nvSpPr>
        <p:spPr>
          <a:xfrm flipV="1">
            <a:off x="5010603" y="5696424"/>
            <a:ext cx="182257" cy="151981"/>
          </a:xfrm>
          <a:prstGeom prst="triangle">
            <a:avLst/>
          </a:prstGeom>
          <a:solidFill>
            <a:srgbClr val="E71C57"/>
          </a:solidFill>
          <a:ln w="9525" cap="rnd" cmpd="sng" algn="ctr">
            <a:solidFill>
              <a:srgbClr val="E71C5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72" name="ee4pContent1">
            <a:extLst>
              <a:ext uri="{FF2B5EF4-FFF2-40B4-BE49-F238E27FC236}">
                <a16:creationId xmlns:a16="http://schemas.microsoft.com/office/drawing/2014/main" id="{A9059DD4-A81B-7AE3-197B-BCDE6C593976}"/>
              </a:ext>
            </a:extLst>
          </p:cNvPr>
          <p:cNvSpPr txBox="1"/>
          <p:nvPr/>
        </p:nvSpPr>
        <p:spPr>
          <a:xfrm>
            <a:off x="3832039" y="5781029"/>
            <a:ext cx="1559806" cy="459114"/>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marR="0" lvl="0" algn="r"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lang="en-US" sz="1100" b="1" dirty="0">
                <a:solidFill>
                  <a:srgbClr val="002060"/>
                </a:solidFill>
              </a:rPr>
              <a:t>Global branding strategy </a:t>
            </a:r>
            <a:r>
              <a:rPr lang="en-US" sz="1100" dirty="0"/>
              <a:t>and advocacy framework</a:t>
            </a:r>
          </a:p>
        </p:txBody>
      </p:sp>
      <p:cxnSp>
        <p:nvCxnSpPr>
          <p:cNvPr id="87" name="Straight Connector 86">
            <a:extLst>
              <a:ext uri="{FF2B5EF4-FFF2-40B4-BE49-F238E27FC236}">
                <a16:creationId xmlns:a16="http://schemas.microsoft.com/office/drawing/2014/main" id="{4A261815-3363-A72A-23A5-A72E3E6ED436}"/>
              </a:ext>
            </a:extLst>
          </p:cNvPr>
          <p:cNvCxnSpPr>
            <a:cxnSpLocks/>
          </p:cNvCxnSpPr>
          <p:nvPr/>
        </p:nvCxnSpPr>
        <p:spPr>
          <a:xfrm>
            <a:off x="457080" y="1459440"/>
            <a:ext cx="11449170" cy="0"/>
          </a:xfrm>
          <a:prstGeom prst="line">
            <a:avLst/>
          </a:prstGeom>
          <a:ln w="17145" cap="flat" cmpd="sng" algn="ctr">
            <a:solidFill>
              <a:srgbClr val="000000"/>
            </a:solidFill>
            <a:prstDash val="solid"/>
            <a:round/>
            <a:headEnd type="none" w="med" len="med"/>
            <a:tailEnd type="none" w="med" len="med"/>
          </a:ln>
        </p:spPr>
      </p:cxnSp>
      <p:sp>
        <p:nvSpPr>
          <p:cNvPr id="12" name="Isosceles Triangle 11">
            <a:extLst>
              <a:ext uri="{FF2B5EF4-FFF2-40B4-BE49-F238E27FC236}">
                <a16:creationId xmlns:a16="http://schemas.microsoft.com/office/drawing/2014/main" id="{05749DB0-43EE-347A-0C85-960099D74903}"/>
              </a:ext>
            </a:extLst>
          </p:cNvPr>
          <p:cNvSpPr>
            <a:spLocks/>
          </p:cNvSpPr>
          <p:nvPr/>
        </p:nvSpPr>
        <p:spPr>
          <a:xfrm flipV="1">
            <a:off x="4178546" y="1652332"/>
            <a:ext cx="182257" cy="140352"/>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381" tIns="64191" rIns="128381" bIns="64191" numCol="1" spcCol="0" rtlCol="0" fromWordArt="0" anchor="ctr" anchorCtr="0" forceAA="0" compatLnSpc="1">
            <a:prstTxWarp prst="textNoShape">
              <a:avLst/>
            </a:prstTxWarp>
            <a:noAutofit/>
          </a:bodyPr>
          <a:lstStyle/>
          <a:p>
            <a:pPr algn="ctr"/>
            <a:endParaRPr lang="en-US" sz="1000" dirty="0">
              <a:solidFill>
                <a:srgbClr val="FFFFFF"/>
              </a:solidFill>
              <a:cs typeface="Calibri Light" panose="020F0302020204030204" pitchFamily="34" charset="0"/>
              <a:sym typeface="Calibri Light" panose="020F0302020204030204" pitchFamily="34" charset="0"/>
            </a:endParaRPr>
          </a:p>
        </p:txBody>
      </p:sp>
      <p:sp>
        <p:nvSpPr>
          <p:cNvPr id="15" name="ee4pContent1">
            <a:extLst>
              <a:ext uri="{FF2B5EF4-FFF2-40B4-BE49-F238E27FC236}">
                <a16:creationId xmlns:a16="http://schemas.microsoft.com/office/drawing/2014/main" id="{644E12C7-97A7-310F-B216-C38D39EF32F3}"/>
              </a:ext>
            </a:extLst>
          </p:cNvPr>
          <p:cNvSpPr txBox="1"/>
          <p:nvPr/>
        </p:nvSpPr>
        <p:spPr>
          <a:xfrm>
            <a:off x="3625635" y="1808456"/>
            <a:ext cx="1288080"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b="1" kern="1200" dirty="0">
                <a:solidFill>
                  <a:srgbClr val="002060"/>
                </a:solidFill>
                <a:effectLst/>
              </a:rPr>
              <a:t>Calls for proposals</a:t>
            </a:r>
            <a:r>
              <a:rPr lang="en-US" sz="1100" kern="1200" dirty="0">
                <a:solidFill>
                  <a:srgbClr val="262626"/>
                </a:solidFill>
                <a:effectLst/>
              </a:rPr>
              <a:t> to conduct top priority research</a:t>
            </a:r>
            <a:endParaRPr lang="en-US" sz="1100" dirty="0">
              <a:effectLst/>
              <a:ea typeface="Calibri" panose="020F0502020204030204" pitchFamily="34" charset="0"/>
              <a:cs typeface="Calibri" panose="020F0502020204030204" pitchFamily="34" charset="0"/>
            </a:endParaRPr>
          </a:p>
        </p:txBody>
      </p:sp>
      <p:cxnSp>
        <p:nvCxnSpPr>
          <p:cNvPr id="59" name="Straight Connector 58">
            <a:extLst>
              <a:ext uri="{FF2B5EF4-FFF2-40B4-BE49-F238E27FC236}">
                <a16:creationId xmlns:a16="http://schemas.microsoft.com/office/drawing/2014/main" id="{C2A97701-47D0-9BEF-D0CE-D576BB47785A}"/>
              </a:ext>
            </a:extLst>
          </p:cNvPr>
          <p:cNvCxnSpPr/>
          <p:nvPr/>
        </p:nvCxnSpPr>
        <p:spPr>
          <a:xfrm>
            <a:off x="457078" y="3461532"/>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91790CB-907C-864C-6EE1-ACC8767A8BF3}"/>
              </a:ext>
            </a:extLst>
          </p:cNvPr>
          <p:cNvCxnSpPr>
            <a:cxnSpLocks/>
          </p:cNvCxnSpPr>
          <p:nvPr/>
        </p:nvCxnSpPr>
        <p:spPr>
          <a:xfrm>
            <a:off x="457080" y="2457414"/>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B9F747E-05CD-2096-5A92-265588BC9176}"/>
              </a:ext>
            </a:extLst>
          </p:cNvPr>
          <p:cNvCxnSpPr/>
          <p:nvPr/>
        </p:nvCxnSpPr>
        <p:spPr>
          <a:xfrm>
            <a:off x="457078" y="5161343"/>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BFD558AF-6B7D-2F9E-52CC-B7D254AD25E7}"/>
              </a:ext>
            </a:extLst>
          </p:cNvPr>
          <p:cNvSpPr/>
          <p:nvPr/>
        </p:nvSpPr>
        <p:spPr>
          <a:xfrm>
            <a:off x="10365666" y="1630838"/>
            <a:ext cx="1540584" cy="73866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dirty="0">
                <a:solidFill>
                  <a:srgbClr val="262626"/>
                </a:solidFill>
              </a:rPr>
              <a:t>All </a:t>
            </a:r>
            <a:r>
              <a:rPr lang="en-US" sz="1000" b="1" dirty="0">
                <a:solidFill>
                  <a:srgbClr val="0070C0"/>
                </a:solidFill>
              </a:rPr>
              <a:t>priority questions </a:t>
            </a:r>
            <a:r>
              <a:rPr lang="en-US" sz="1000" dirty="0">
                <a:solidFill>
                  <a:srgbClr val="262626"/>
                </a:solidFill>
              </a:rPr>
              <a:t>of the research agenda have been </a:t>
            </a:r>
            <a:r>
              <a:rPr lang="en-US" sz="1000" b="1" dirty="0">
                <a:solidFill>
                  <a:srgbClr val="0070C0"/>
                </a:solidFill>
              </a:rPr>
              <a:t>answered</a:t>
            </a:r>
          </a:p>
        </p:txBody>
      </p:sp>
      <p:sp>
        <p:nvSpPr>
          <p:cNvPr id="33" name="Rectangle 32">
            <a:extLst>
              <a:ext uri="{FF2B5EF4-FFF2-40B4-BE49-F238E27FC236}">
                <a16:creationId xmlns:a16="http://schemas.microsoft.com/office/drawing/2014/main" id="{A4E5630D-FDB3-13A9-83EF-81F32D1CC222}"/>
              </a:ext>
            </a:extLst>
          </p:cNvPr>
          <p:cNvSpPr/>
          <p:nvPr/>
        </p:nvSpPr>
        <p:spPr>
          <a:xfrm>
            <a:off x="10392215" y="2432906"/>
            <a:ext cx="1508298" cy="1058024"/>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b="1" dirty="0">
                <a:solidFill>
                  <a:srgbClr val="0070C0"/>
                </a:solidFill>
              </a:rPr>
              <a:t>Global guidelines </a:t>
            </a:r>
            <a:r>
              <a:rPr lang="en-US" sz="1000" dirty="0">
                <a:solidFill>
                  <a:srgbClr val="262626"/>
                </a:solidFill>
              </a:rPr>
              <a:t>reflect latest evidence available, and are cascaded into </a:t>
            </a:r>
            <a:r>
              <a:rPr lang="en-US" sz="1000" b="1" dirty="0">
                <a:solidFill>
                  <a:srgbClr val="0070C0"/>
                </a:solidFill>
              </a:rPr>
              <a:t>national guidelines</a:t>
            </a:r>
            <a:r>
              <a:rPr lang="en-US" sz="1000" dirty="0">
                <a:solidFill>
                  <a:srgbClr val="262626"/>
                </a:solidFill>
              </a:rPr>
              <a:t>, with clear clinical protocols</a:t>
            </a:r>
          </a:p>
        </p:txBody>
      </p:sp>
      <p:sp>
        <p:nvSpPr>
          <p:cNvPr id="37" name="Rectangle 36">
            <a:extLst>
              <a:ext uri="{FF2B5EF4-FFF2-40B4-BE49-F238E27FC236}">
                <a16:creationId xmlns:a16="http://schemas.microsoft.com/office/drawing/2014/main" id="{6F093D76-7A15-3A77-1CB1-5CBCB051ED5C}"/>
              </a:ext>
            </a:extLst>
          </p:cNvPr>
          <p:cNvSpPr/>
          <p:nvPr/>
        </p:nvSpPr>
        <p:spPr>
          <a:xfrm>
            <a:off x="10365666" y="5159713"/>
            <a:ext cx="1540584" cy="1118325"/>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Successful </a:t>
            </a:r>
            <a:r>
              <a:rPr lang="en-US" sz="1000" b="1" dirty="0">
                <a:solidFill>
                  <a:srgbClr val="0070C0"/>
                </a:solidFill>
              </a:rPr>
              <a:t>engagement</a:t>
            </a:r>
            <a:r>
              <a:rPr lang="en-US" sz="990" dirty="0">
                <a:solidFill>
                  <a:srgbClr val="262626"/>
                </a:solidFill>
              </a:rPr>
              <a:t> of all target audiences</a:t>
            </a:r>
          </a:p>
        </p:txBody>
      </p:sp>
      <p:sp>
        <p:nvSpPr>
          <p:cNvPr id="52" name="Rectangle 51">
            <a:extLst>
              <a:ext uri="{FF2B5EF4-FFF2-40B4-BE49-F238E27FC236}">
                <a16:creationId xmlns:a16="http://schemas.microsoft.com/office/drawing/2014/main" id="{880152E6-9F98-95E0-7F52-1D8F4B9FA47D}"/>
              </a:ext>
            </a:extLst>
          </p:cNvPr>
          <p:cNvSpPr/>
          <p:nvPr/>
        </p:nvSpPr>
        <p:spPr>
          <a:xfrm>
            <a:off x="10376637" y="985824"/>
            <a:ext cx="1529613" cy="293659"/>
          </a:xfrm>
          <a:prstGeom prst="rect">
            <a:avLst/>
          </a:prstGeom>
          <a:solidFill>
            <a:srgbClr val="CAE5E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06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0070C0"/>
                </a:solidFill>
              </a:rPr>
              <a:t>Objective</a:t>
            </a:r>
          </a:p>
        </p:txBody>
      </p:sp>
      <p:sp>
        <p:nvSpPr>
          <p:cNvPr id="29" name="Arrow: Chevron 28">
            <a:extLst>
              <a:ext uri="{FF2B5EF4-FFF2-40B4-BE49-F238E27FC236}">
                <a16:creationId xmlns:a16="http://schemas.microsoft.com/office/drawing/2014/main" id="{408B3DFE-0689-D9CC-1C1C-1CC48019BD29}"/>
              </a:ext>
            </a:extLst>
          </p:cNvPr>
          <p:cNvSpPr/>
          <p:nvPr/>
        </p:nvSpPr>
        <p:spPr>
          <a:xfrm>
            <a:off x="1448148" y="985824"/>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60" b="0" i="0" u="none" strike="noStrike" kern="1200" cap="none" spc="0" normalizeH="0" baseline="0" noProof="0" dirty="0">
                <a:ln>
                  <a:noFill/>
                </a:ln>
                <a:solidFill>
                  <a:srgbClr val="FFFFFF"/>
                </a:solidFill>
                <a:effectLst/>
                <a:uLnTx/>
                <a:uFillTx/>
                <a:ea typeface="+mn-ea"/>
                <a:cs typeface="+mn-cs"/>
              </a:rPr>
              <a:t>Q2 2023</a:t>
            </a:r>
          </a:p>
        </p:txBody>
      </p:sp>
      <p:sp>
        <p:nvSpPr>
          <p:cNvPr id="30" name="Arrow: Chevron 29">
            <a:extLst>
              <a:ext uri="{FF2B5EF4-FFF2-40B4-BE49-F238E27FC236}">
                <a16:creationId xmlns:a16="http://schemas.microsoft.com/office/drawing/2014/main" id="{58224400-680E-AA5E-4802-CAE45D742C2A}"/>
              </a:ext>
            </a:extLst>
          </p:cNvPr>
          <p:cNvSpPr/>
          <p:nvPr/>
        </p:nvSpPr>
        <p:spPr>
          <a:xfrm>
            <a:off x="2259829" y="985824"/>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defRPr/>
            </a:pPr>
            <a:r>
              <a:rPr kumimoji="0" lang="fr-FR" sz="1260" b="0" i="0" u="none" strike="noStrike" kern="1200" cap="none" spc="0" normalizeH="0" baseline="0" noProof="0" dirty="0">
                <a:ln>
                  <a:noFill/>
                </a:ln>
                <a:solidFill>
                  <a:srgbClr val="FFFFFF"/>
                </a:solidFill>
                <a:effectLst/>
                <a:uLnTx/>
                <a:uFillTx/>
                <a:ea typeface="+mn-ea"/>
                <a:cs typeface="+mn-cs"/>
              </a:rPr>
              <a:t>Q3 2023</a:t>
            </a:r>
          </a:p>
        </p:txBody>
      </p:sp>
      <p:sp>
        <p:nvSpPr>
          <p:cNvPr id="31" name="Arrow: Chevron 30">
            <a:extLst>
              <a:ext uri="{FF2B5EF4-FFF2-40B4-BE49-F238E27FC236}">
                <a16:creationId xmlns:a16="http://schemas.microsoft.com/office/drawing/2014/main" id="{2249ADC3-CC27-8EDF-1EE9-0257B1C9AE3B}"/>
              </a:ext>
            </a:extLst>
          </p:cNvPr>
          <p:cNvSpPr/>
          <p:nvPr/>
        </p:nvSpPr>
        <p:spPr>
          <a:xfrm>
            <a:off x="3071509" y="985824"/>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60" b="0" i="0" u="none" strike="noStrike" kern="1200" cap="none" spc="0" normalizeH="0" baseline="0" noProof="0" dirty="0">
                <a:ln>
                  <a:noFill/>
                </a:ln>
                <a:solidFill>
                  <a:srgbClr val="FFFFFF"/>
                </a:solidFill>
                <a:effectLst/>
                <a:uLnTx/>
                <a:uFillTx/>
                <a:ea typeface="+mn-ea"/>
                <a:cs typeface="+mn-cs"/>
              </a:rPr>
              <a:t>Q4 2023</a:t>
            </a:r>
          </a:p>
        </p:txBody>
      </p:sp>
      <p:sp>
        <p:nvSpPr>
          <p:cNvPr id="32" name="Arrow: Chevron 31">
            <a:extLst>
              <a:ext uri="{FF2B5EF4-FFF2-40B4-BE49-F238E27FC236}">
                <a16:creationId xmlns:a16="http://schemas.microsoft.com/office/drawing/2014/main" id="{14CAEDB1-E337-D8B3-EB93-8934E4F79B6C}"/>
              </a:ext>
            </a:extLst>
          </p:cNvPr>
          <p:cNvSpPr/>
          <p:nvPr/>
        </p:nvSpPr>
        <p:spPr>
          <a:xfrm>
            <a:off x="3883190" y="985824"/>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H1 2024</a:t>
            </a:r>
          </a:p>
        </p:txBody>
      </p:sp>
      <p:sp>
        <p:nvSpPr>
          <p:cNvPr id="34" name="Arrow: Chevron 33">
            <a:extLst>
              <a:ext uri="{FF2B5EF4-FFF2-40B4-BE49-F238E27FC236}">
                <a16:creationId xmlns:a16="http://schemas.microsoft.com/office/drawing/2014/main" id="{DAD64727-7929-2301-8383-7C40031E4847}"/>
              </a:ext>
            </a:extLst>
          </p:cNvPr>
          <p:cNvSpPr/>
          <p:nvPr/>
        </p:nvSpPr>
        <p:spPr>
          <a:xfrm>
            <a:off x="4694871" y="985824"/>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H2 2024</a:t>
            </a:r>
          </a:p>
        </p:txBody>
      </p:sp>
      <p:sp>
        <p:nvSpPr>
          <p:cNvPr id="80" name="Arrow: Chevron 79">
            <a:extLst>
              <a:ext uri="{FF2B5EF4-FFF2-40B4-BE49-F238E27FC236}">
                <a16:creationId xmlns:a16="http://schemas.microsoft.com/office/drawing/2014/main" id="{B5DBB5C8-43DF-882C-8963-D1D6766082DA}"/>
              </a:ext>
            </a:extLst>
          </p:cNvPr>
          <p:cNvSpPr/>
          <p:nvPr/>
        </p:nvSpPr>
        <p:spPr>
          <a:xfrm>
            <a:off x="5506552" y="985824"/>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5</a:t>
            </a:r>
          </a:p>
        </p:txBody>
      </p:sp>
      <p:sp>
        <p:nvSpPr>
          <p:cNvPr id="81" name="Arrow: Chevron 80">
            <a:extLst>
              <a:ext uri="{FF2B5EF4-FFF2-40B4-BE49-F238E27FC236}">
                <a16:creationId xmlns:a16="http://schemas.microsoft.com/office/drawing/2014/main" id="{7EEE773F-BD05-52FA-4E5A-0A511C961F3F}"/>
              </a:ext>
            </a:extLst>
          </p:cNvPr>
          <p:cNvSpPr/>
          <p:nvPr/>
        </p:nvSpPr>
        <p:spPr>
          <a:xfrm>
            <a:off x="6318233" y="985824"/>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6</a:t>
            </a:r>
          </a:p>
        </p:txBody>
      </p:sp>
      <p:sp>
        <p:nvSpPr>
          <p:cNvPr id="82" name="Arrow: Chevron 81">
            <a:extLst>
              <a:ext uri="{FF2B5EF4-FFF2-40B4-BE49-F238E27FC236}">
                <a16:creationId xmlns:a16="http://schemas.microsoft.com/office/drawing/2014/main" id="{0EF17916-C367-80A4-88A1-8A0C8600CC3E}"/>
              </a:ext>
            </a:extLst>
          </p:cNvPr>
          <p:cNvSpPr/>
          <p:nvPr/>
        </p:nvSpPr>
        <p:spPr>
          <a:xfrm>
            <a:off x="7129914" y="985824"/>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7</a:t>
            </a:r>
          </a:p>
        </p:txBody>
      </p:sp>
      <p:sp>
        <p:nvSpPr>
          <p:cNvPr id="83" name="Arrow: Chevron 82">
            <a:extLst>
              <a:ext uri="{FF2B5EF4-FFF2-40B4-BE49-F238E27FC236}">
                <a16:creationId xmlns:a16="http://schemas.microsoft.com/office/drawing/2014/main" id="{BF663153-0E89-C86E-1487-6FC1CDA9FC30}"/>
              </a:ext>
            </a:extLst>
          </p:cNvPr>
          <p:cNvSpPr/>
          <p:nvPr/>
        </p:nvSpPr>
        <p:spPr>
          <a:xfrm>
            <a:off x="7941594" y="985824"/>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8</a:t>
            </a:r>
          </a:p>
        </p:txBody>
      </p:sp>
      <p:sp>
        <p:nvSpPr>
          <p:cNvPr id="84" name="Arrow: Chevron 83">
            <a:extLst>
              <a:ext uri="{FF2B5EF4-FFF2-40B4-BE49-F238E27FC236}">
                <a16:creationId xmlns:a16="http://schemas.microsoft.com/office/drawing/2014/main" id="{6F6EF02D-FAAC-5B06-D2CD-D6CB0217B324}"/>
              </a:ext>
            </a:extLst>
          </p:cNvPr>
          <p:cNvSpPr/>
          <p:nvPr/>
        </p:nvSpPr>
        <p:spPr>
          <a:xfrm>
            <a:off x="8753275" y="985824"/>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9</a:t>
            </a:r>
          </a:p>
        </p:txBody>
      </p:sp>
      <p:sp>
        <p:nvSpPr>
          <p:cNvPr id="85" name="Arrow: Chevron 84">
            <a:extLst>
              <a:ext uri="{FF2B5EF4-FFF2-40B4-BE49-F238E27FC236}">
                <a16:creationId xmlns:a16="http://schemas.microsoft.com/office/drawing/2014/main" id="{C01F621C-726E-427B-4176-1F404ABC0BC5}"/>
              </a:ext>
            </a:extLst>
          </p:cNvPr>
          <p:cNvSpPr/>
          <p:nvPr/>
        </p:nvSpPr>
        <p:spPr>
          <a:xfrm>
            <a:off x="9564956" y="985824"/>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30</a:t>
            </a:r>
          </a:p>
        </p:txBody>
      </p:sp>
      <p:sp>
        <p:nvSpPr>
          <p:cNvPr id="53" name="Arrow: Chevron 52">
            <a:extLst>
              <a:ext uri="{FF2B5EF4-FFF2-40B4-BE49-F238E27FC236}">
                <a16:creationId xmlns:a16="http://schemas.microsoft.com/office/drawing/2014/main" id="{903931A9-DC3A-16FE-0F81-F57579E20FD2}"/>
              </a:ext>
            </a:extLst>
          </p:cNvPr>
          <p:cNvSpPr/>
          <p:nvPr/>
        </p:nvSpPr>
        <p:spPr>
          <a:xfrm>
            <a:off x="10322684" y="985824"/>
            <a:ext cx="99299" cy="299159"/>
          </a:xfrm>
          <a:prstGeom prst="chevron">
            <a:avLst>
              <a:gd name="adj" fmla="val 34514"/>
            </a:avLst>
          </a:prstGeom>
          <a:solidFill>
            <a:srgbClr val="FFFFFF"/>
          </a:solidFill>
          <a:ln w="8572"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endParaRPr kumimoji="0" lang="fr-FR" sz="1260" b="0" i="0" u="none" strike="noStrike" kern="1200" cap="none" spc="0" normalizeH="0" baseline="0" noProof="0" dirty="0">
              <a:ln>
                <a:noFill/>
              </a:ln>
              <a:solidFill>
                <a:srgbClr val="0070C0"/>
              </a:solidFill>
              <a:effectLst/>
              <a:uLnTx/>
              <a:uFillTx/>
              <a:ea typeface="+mn-ea"/>
              <a:cs typeface="+mn-cs"/>
            </a:endParaRPr>
          </a:p>
        </p:txBody>
      </p:sp>
      <p:sp>
        <p:nvSpPr>
          <p:cNvPr id="40" name="Arrow: Chevron 39">
            <a:extLst>
              <a:ext uri="{FF2B5EF4-FFF2-40B4-BE49-F238E27FC236}">
                <a16:creationId xmlns:a16="http://schemas.microsoft.com/office/drawing/2014/main" id="{98859B9F-FB46-5306-7C97-857849C5976D}"/>
              </a:ext>
            </a:extLst>
          </p:cNvPr>
          <p:cNvSpPr/>
          <p:nvPr/>
        </p:nvSpPr>
        <p:spPr>
          <a:xfrm>
            <a:off x="685787" y="985824"/>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100" b="1" dirty="0">
                <a:solidFill>
                  <a:srgbClr val="002060"/>
                </a:solidFill>
              </a:rPr>
              <a:t>PPH</a:t>
            </a:r>
          </a:p>
          <a:p>
            <a:pPr algn="ctr"/>
            <a:r>
              <a:rPr lang="fr-FR" sz="1100" b="1" dirty="0">
                <a:solidFill>
                  <a:srgbClr val="002060"/>
                </a:solidFill>
              </a:rPr>
              <a:t>Summit</a:t>
            </a:r>
          </a:p>
        </p:txBody>
      </p:sp>
      <p:cxnSp>
        <p:nvCxnSpPr>
          <p:cNvPr id="102" name="Straight Connector 101">
            <a:extLst>
              <a:ext uri="{FF2B5EF4-FFF2-40B4-BE49-F238E27FC236}">
                <a16:creationId xmlns:a16="http://schemas.microsoft.com/office/drawing/2014/main" id="{C7CB1139-2B0A-F637-FADA-08F2A7625CC4}"/>
              </a:ext>
            </a:extLst>
          </p:cNvPr>
          <p:cNvCxnSpPr/>
          <p:nvPr/>
        </p:nvCxnSpPr>
        <p:spPr>
          <a:xfrm>
            <a:off x="457080" y="6226424"/>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3" name="Isosceles Triangle 75">
            <a:extLst>
              <a:ext uri="{FF2B5EF4-FFF2-40B4-BE49-F238E27FC236}">
                <a16:creationId xmlns:a16="http://schemas.microsoft.com/office/drawing/2014/main" id="{ED841635-CF52-8FF3-7C36-CBC143F8BFB0}"/>
              </a:ext>
            </a:extLst>
          </p:cNvPr>
          <p:cNvSpPr>
            <a:spLocks/>
          </p:cNvSpPr>
          <p:nvPr/>
        </p:nvSpPr>
        <p:spPr>
          <a:xfrm flipV="1">
            <a:off x="4029477" y="2608606"/>
            <a:ext cx="182257" cy="140352"/>
          </a:xfrm>
          <a:prstGeom prst="triangle">
            <a:avLst/>
          </a:prstGeom>
          <a:solidFill>
            <a:srgbClr val="E71C57"/>
          </a:solidFill>
          <a:ln w="9525" cap="rnd" cmpd="sng" algn="ctr">
            <a:solidFill>
              <a:srgbClr val="E71C5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 name="ee4pContent1">
            <a:extLst>
              <a:ext uri="{FF2B5EF4-FFF2-40B4-BE49-F238E27FC236}">
                <a16:creationId xmlns:a16="http://schemas.microsoft.com/office/drawing/2014/main" id="{AF2F53D4-6E25-E43E-8808-CB1770FEC12B}"/>
              </a:ext>
            </a:extLst>
          </p:cNvPr>
          <p:cNvSpPr txBox="1"/>
          <p:nvPr/>
        </p:nvSpPr>
        <p:spPr>
          <a:xfrm>
            <a:off x="3308793" y="2767191"/>
            <a:ext cx="1623626"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kern="1200" dirty="0">
                <a:solidFill>
                  <a:srgbClr val="262626"/>
                </a:solidFill>
                <a:effectLst/>
              </a:rPr>
              <a:t>Publication of </a:t>
            </a:r>
            <a:r>
              <a:rPr lang="en-US" sz="1100" b="1" kern="1200" dirty="0">
                <a:solidFill>
                  <a:srgbClr val="002060"/>
                </a:solidFill>
                <a:effectLst/>
              </a:rPr>
              <a:t>WHO recommendations</a:t>
            </a:r>
            <a:r>
              <a:rPr lang="en-US" sz="1100" kern="1200" dirty="0">
                <a:solidFill>
                  <a:srgbClr val="262626"/>
                </a:solidFill>
                <a:effectLst/>
              </a:rPr>
              <a:t> actioning new, impactful evidence</a:t>
            </a:r>
            <a:endParaRPr lang="en-US" sz="1100" dirty="0">
              <a:effectLst/>
              <a:ea typeface="Calibri" panose="020F0502020204030204" pitchFamily="34" charset="0"/>
              <a:cs typeface="Calibri" panose="020F0502020204030204" pitchFamily="34" charset="0"/>
            </a:endParaRPr>
          </a:p>
        </p:txBody>
      </p:sp>
      <p:grpSp>
        <p:nvGrpSpPr>
          <p:cNvPr id="48" name="Group 47">
            <a:extLst>
              <a:ext uri="{FF2B5EF4-FFF2-40B4-BE49-F238E27FC236}">
                <a16:creationId xmlns:a16="http://schemas.microsoft.com/office/drawing/2014/main" id="{4418B660-2CE9-F9E4-3D69-DBA2F40F52B2}"/>
              </a:ext>
            </a:extLst>
          </p:cNvPr>
          <p:cNvGrpSpPr/>
          <p:nvPr/>
        </p:nvGrpSpPr>
        <p:grpSpPr>
          <a:xfrm>
            <a:off x="1430441" y="1477755"/>
            <a:ext cx="1213507" cy="4665628"/>
            <a:chOff x="1430441" y="1907719"/>
            <a:chExt cx="1213507" cy="3882847"/>
          </a:xfrm>
        </p:grpSpPr>
        <p:grpSp>
          <p:nvGrpSpPr>
            <p:cNvPr id="47" name="Group 46">
              <a:extLst>
                <a:ext uri="{FF2B5EF4-FFF2-40B4-BE49-F238E27FC236}">
                  <a16:creationId xmlns:a16="http://schemas.microsoft.com/office/drawing/2014/main" id="{EE7E0DD1-10C1-EFB1-05FC-E4486EB29354}"/>
                </a:ext>
              </a:extLst>
            </p:cNvPr>
            <p:cNvGrpSpPr/>
            <p:nvPr/>
          </p:nvGrpSpPr>
          <p:grpSpPr>
            <a:xfrm>
              <a:off x="1757448" y="1907719"/>
              <a:ext cx="232206" cy="3882847"/>
              <a:chOff x="1757448" y="1907719"/>
              <a:chExt cx="232206" cy="3882847"/>
            </a:xfrm>
          </p:grpSpPr>
          <p:sp>
            <p:nvSpPr>
              <p:cNvPr id="39" name="Rectangle 38">
                <a:extLst>
                  <a:ext uri="{FF2B5EF4-FFF2-40B4-BE49-F238E27FC236}">
                    <a16:creationId xmlns:a16="http://schemas.microsoft.com/office/drawing/2014/main" id="{2FE4616B-4BFD-1838-C243-0D665E214361}"/>
                  </a:ext>
                </a:extLst>
              </p:cNvPr>
              <p:cNvSpPr/>
              <p:nvPr/>
            </p:nvSpPr>
            <p:spPr>
              <a:xfrm>
                <a:off x="1757448" y="1907719"/>
                <a:ext cx="232206" cy="3882847"/>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44" name="Straight Connector 43">
                <a:extLst>
                  <a:ext uri="{FF2B5EF4-FFF2-40B4-BE49-F238E27FC236}">
                    <a16:creationId xmlns:a16="http://schemas.microsoft.com/office/drawing/2014/main" id="{1458337D-B387-B2F4-4628-E153036BFA25}"/>
                  </a:ext>
                </a:extLst>
              </p:cNvPr>
              <p:cNvCxnSpPr>
                <a:cxnSpLocks/>
                <a:stCxn id="39" idx="2"/>
              </p:cNvCxnSpPr>
              <p:nvPr/>
            </p:nvCxnSpPr>
            <p:spPr>
              <a:xfrm flipH="1" flipV="1">
                <a:off x="1859662" y="1952250"/>
                <a:ext cx="13889" cy="3838316"/>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5" name="Isosceles Triangle 4">
                <a:extLst>
                  <a:ext uri="{FF2B5EF4-FFF2-40B4-BE49-F238E27FC236}">
                    <a16:creationId xmlns:a16="http://schemas.microsoft.com/office/drawing/2014/main" id="{CFF25FF5-EF96-D260-C62E-2AA7C2EC289D}"/>
                  </a:ext>
                </a:extLst>
              </p:cNvPr>
              <p:cNvSpPr>
                <a:spLocks/>
              </p:cNvSpPr>
              <p:nvPr/>
            </p:nvSpPr>
            <p:spPr>
              <a:xfrm flipV="1">
                <a:off x="1782422" y="3319937"/>
                <a:ext cx="182257" cy="140352"/>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381" tIns="64191" rIns="128381" bIns="641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ea typeface="+mn-ea"/>
                  <a:cs typeface="Calibri Light" panose="020F0302020204030204" pitchFamily="34" charset="0"/>
                  <a:sym typeface="Calibri Light" panose="020F0302020204030204" pitchFamily="34" charset="0"/>
                </a:endParaRPr>
              </a:p>
            </p:txBody>
          </p:sp>
        </p:grpSp>
        <p:sp>
          <p:nvSpPr>
            <p:cNvPr id="21" name="ee4pContent1">
              <a:extLst>
                <a:ext uri="{FF2B5EF4-FFF2-40B4-BE49-F238E27FC236}">
                  <a16:creationId xmlns:a16="http://schemas.microsoft.com/office/drawing/2014/main" id="{13B47113-7524-1BE2-2A8C-593E8C1950C4}"/>
                </a:ext>
              </a:extLst>
            </p:cNvPr>
            <p:cNvSpPr txBox="1"/>
            <p:nvPr/>
          </p:nvSpPr>
          <p:spPr>
            <a:xfrm>
              <a:off x="1430441" y="3473783"/>
              <a:ext cx="1213507" cy="1015663"/>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r>
                <a:rPr lang="en-US" sz="1100" b="1" kern="1200" dirty="0">
                  <a:solidFill>
                    <a:srgbClr val="002060"/>
                  </a:solidFill>
                  <a:effectLst/>
                </a:rPr>
                <a:t>IMNHC</a:t>
              </a:r>
              <a:r>
                <a:rPr lang="en-US" sz="1100" kern="1200" dirty="0">
                  <a:solidFill>
                    <a:srgbClr val="262626"/>
                  </a:solidFill>
                  <a:effectLst/>
                </a:rPr>
                <a:t> – </a:t>
              </a:r>
              <a:r>
                <a:rPr lang="en-US" sz="1100" b="1" dirty="0">
                  <a:solidFill>
                    <a:srgbClr val="002060"/>
                  </a:solidFill>
                </a:rPr>
                <a:t>launch of the RoadMap</a:t>
              </a:r>
              <a:r>
                <a:rPr lang="en-US" sz="1100" kern="1200" dirty="0">
                  <a:solidFill>
                    <a:srgbClr val="262626"/>
                  </a:solidFill>
                  <a:effectLst/>
                </a:rPr>
                <a:t>, including research, normative, implementation, and advocacy agendas</a:t>
              </a:r>
              <a:endParaRPr lang="en-US" sz="1100" dirty="0">
                <a:effectLst/>
                <a:ea typeface="Calibri" panose="020F0502020204030204" pitchFamily="34" charset="0"/>
                <a:cs typeface="Calibri" panose="020F0502020204030204" pitchFamily="34" charset="0"/>
              </a:endParaRPr>
            </a:p>
          </p:txBody>
        </p:sp>
      </p:grpSp>
      <p:grpSp>
        <p:nvGrpSpPr>
          <p:cNvPr id="74" name="Group 73">
            <a:extLst>
              <a:ext uri="{FF2B5EF4-FFF2-40B4-BE49-F238E27FC236}">
                <a16:creationId xmlns:a16="http://schemas.microsoft.com/office/drawing/2014/main" id="{0EA3003D-523F-401E-8C20-A7691F51EAC6}"/>
              </a:ext>
            </a:extLst>
          </p:cNvPr>
          <p:cNvGrpSpPr/>
          <p:nvPr/>
        </p:nvGrpSpPr>
        <p:grpSpPr>
          <a:xfrm>
            <a:off x="457078" y="6497026"/>
            <a:ext cx="2775803" cy="169277"/>
            <a:chOff x="457277" y="5846680"/>
            <a:chExt cx="2775803" cy="169277"/>
          </a:xfrm>
        </p:grpSpPr>
        <p:sp>
          <p:nvSpPr>
            <p:cNvPr id="94" name="Isosceles Triangle 93">
              <a:extLst>
                <a:ext uri="{FF2B5EF4-FFF2-40B4-BE49-F238E27FC236}">
                  <a16:creationId xmlns:a16="http://schemas.microsoft.com/office/drawing/2014/main" id="{EA5F4053-2B51-42C8-B9F7-D8280841DBE6}"/>
                </a:ext>
              </a:extLst>
            </p:cNvPr>
            <p:cNvSpPr>
              <a:spLocks/>
            </p:cNvSpPr>
            <p:nvPr/>
          </p:nvSpPr>
          <p:spPr>
            <a:xfrm flipV="1">
              <a:off x="457277" y="5853892"/>
              <a:ext cx="202490" cy="154853"/>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p>
          </p:txBody>
        </p:sp>
        <p:sp>
          <p:nvSpPr>
            <p:cNvPr id="95" name="ee4pContent1">
              <a:extLst>
                <a:ext uri="{FF2B5EF4-FFF2-40B4-BE49-F238E27FC236}">
                  <a16:creationId xmlns:a16="http://schemas.microsoft.com/office/drawing/2014/main" id="{2B1BBCE6-993E-4A2B-A744-8E7371BDDA23}"/>
                </a:ext>
              </a:extLst>
            </p:cNvPr>
            <p:cNvSpPr txBox="1"/>
            <p:nvPr/>
          </p:nvSpPr>
          <p:spPr>
            <a:xfrm>
              <a:off x="713107" y="5846680"/>
              <a:ext cx="2519973" cy="1692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100" kern="1200" dirty="0">
                  <a:solidFill>
                    <a:srgbClr val="262626"/>
                  </a:solidFill>
                  <a:effectLst/>
                  <a:ea typeface="Calibri" panose="020F0502020204030204" pitchFamily="34" charset="0"/>
                  <a:cs typeface="Mangal" panose="02040503050203030202" pitchFamily="18" charset="0"/>
                </a:rPr>
                <a:t>Milestones non contingent on new funding </a:t>
              </a:r>
              <a:endParaRPr lang="en-US" sz="1100" dirty="0">
                <a:effectLst/>
                <a:ea typeface="Calibri" panose="020F0502020204030204" pitchFamily="34" charset="0"/>
                <a:cs typeface="Calibri" panose="020F0502020204030204" pitchFamily="34" charset="0"/>
              </a:endParaRPr>
            </a:p>
          </p:txBody>
        </p:sp>
      </p:grpSp>
      <p:grpSp>
        <p:nvGrpSpPr>
          <p:cNvPr id="76" name="Group 75">
            <a:extLst>
              <a:ext uri="{FF2B5EF4-FFF2-40B4-BE49-F238E27FC236}">
                <a16:creationId xmlns:a16="http://schemas.microsoft.com/office/drawing/2014/main" id="{24628872-717F-4F87-8072-840180CFFB57}"/>
              </a:ext>
            </a:extLst>
          </p:cNvPr>
          <p:cNvGrpSpPr/>
          <p:nvPr/>
        </p:nvGrpSpPr>
        <p:grpSpPr>
          <a:xfrm>
            <a:off x="3493262" y="6497026"/>
            <a:ext cx="2170256" cy="169277"/>
            <a:chOff x="913351" y="6281031"/>
            <a:chExt cx="2170256" cy="169277"/>
          </a:xfrm>
        </p:grpSpPr>
        <p:sp>
          <p:nvSpPr>
            <p:cNvPr id="92" name="Isosceles Triangle 91">
              <a:extLst>
                <a:ext uri="{FF2B5EF4-FFF2-40B4-BE49-F238E27FC236}">
                  <a16:creationId xmlns:a16="http://schemas.microsoft.com/office/drawing/2014/main" id="{D86C5BA4-1DB3-4A23-9B6D-22FEE03E2D58}"/>
                </a:ext>
              </a:extLst>
            </p:cNvPr>
            <p:cNvSpPr>
              <a:spLocks/>
            </p:cNvSpPr>
            <p:nvPr/>
          </p:nvSpPr>
          <p:spPr>
            <a:xfrm flipV="1">
              <a:off x="913351" y="6288243"/>
              <a:ext cx="202490" cy="154853"/>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p>
          </p:txBody>
        </p:sp>
        <p:sp>
          <p:nvSpPr>
            <p:cNvPr id="93" name="ee4pContent1">
              <a:extLst>
                <a:ext uri="{FF2B5EF4-FFF2-40B4-BE49-F238E27FC236}">
                  <a16:creationId xmlns:a16="http://schemas.microsoft.com/office/drawing/2014/main" id="{0D20737E-1FA9-4E3E-94C9-C86DD2FAF533}"/>
                </a:ext>
              </a:extLst>
            </p:cNvPr>
            <p:cNvSpPr txBox="1"/>
            <p:nvPr/>
          </p:nvSpPr>
          <p:spPr>
            <a:xfrm>
              <a:off x="1169181" y="6281031"/>
              <a:ext cx="1914426" cy="1692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kern="1200" dirty="0">
                  <a:solidFill>
                    <a:srgbClr val="262626"/>
                  </a:solidFill>
                  <a:effectLst/>
                  <a:ea typeface="Calibri" panose="020F0502020204030204" pitchFamily="34" charset="0"/>
                  <a:cs typeface="Mangal" panose="02040503050203030202" pitchFamily="18" charset="0"/>
                </a:rPr>
                <a:t>Milestones contingent on funding</a:t>
              </a:r>
              <a:endParaRPr lang="en-US" sz="1100" dirty="0">
                <a:effectLst/>
                <a:ea typeface="Calibri" panose="020F0502020204030204" pitchFamily="34" charset="0"/>
                <a:cs typeface="Calibri" panose="020F0502020204030204" pitchFamily="34" charset="0"/>
              </a:endParaRPr>
            </a:p>
          </p:txBody>
        </p:sp>
      </p:grpSp>
      <p:grpSp>
        <p:nvGrpSpPr>
          <p:cNvPr id="77" name="Group 76">
            <a:extLst>
              <a:ext uri="{FF2B5EF4-FFF2-40B4-BE49-F238E27FC236}">
                <a16:creationId xmlns:a16="http://schemas.microsoft.com/office/drawing/2014/main" id="{0A7176CC-9B42-4594-97B3-5C82916E126B}"/>
              </a:ext>
            </a:extLst>
          </p:cNvPr>
          <p:cNvGrpSpPr/>
          <p:nvPr/>
        </p:nvGrpSpPr>
        <p:grpSpPr>
          <a:xfrm>
            <a:off x="5923899" y="6491812"/>
            <a:ext cx="1325870" cy="179705"/>
            <a:chOff x="4080944" y="6403416"/>
            <a:chExt cx="1325870" cy="179705"/>
          </a:xfrm>
        </p:grpSpPr>
        <p:sp>
          <p:nvSpPr>
            <p:cNvPr id="90" name="ee4pContent1">
              <a:extLst>
                <a:ext uri="{FF2B5EF4-FFF2-40B4-BE49-F238E27FC236}">
                  <a16:creationId xmlns:a16="http://schemas.microsoft.com/office/drawing/2014/main" id="{C5DFBE9D-68C2-4B7A-9B54-92ED2DDC032C}"/>
                </a:ext>
              </a:extLst>
            </p:cNvPr>
            <p:cNvSpPr txBox="1"/>
            <p:nvPr/>
          </p:nvSpPr>
          <p:spPr>
            <a:xfrm>
              <a:off x="4225718" y="6403416"/>
              <a:ext cx="1181096" cy="17970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kern="1200" dirty="0">
                  <a:solidFill>
                    <a:srgbClr val="262626"/>
                  </a:solidFill>
                  <a:effectLst/>
                  <a:ea typeface="Calibri" panose="020F0502020204030204" pitchFamily="34" charset="0"/>
                  <a:cs typeface="Mangal" panose="02040503050203030202" pitchFamily="18" charset="0"/>
                </a:rPr>
                <a:t>Interdependencies</a:t>
              </a:r>
              <a:endParaRPr lang="en-US" sz="1100" dirty="0">
                <a:effectLst/>
                <a:ea typeface="Calibri" panose="020F0502020204030204" pitchFamily="34" charset="0"/>
                <a:cs typeface="Calibri" panose="020F0502020204030204" pitchFamily="34" charset="0"/>
              </a:endParaRPr>
            </a:p>
          </p:txBody>
        </p:sp>
        <p:cxnSp>
          <p:nvCxnSpPr>
            <p:cNvPr id="91" name="Connector: Curved 90">
              <a:extLst>
                <a:ext uri="{FF2B5EF4-FFF2-40B4-BE49-F238E27FC236}">
                  <a16:creationId xmlns:a16="http://schemas.microsoft.com/office/drawing/2014/main" id="{33AA0476-5935-4C62-AD99-07DF361F3E37}"/>
                </a:ext>
              </a:extLst>
            </p:cNvPr>
            <p:cNvCxnSpPr>
              <a:cxnSpLocks/>
            </p:cNvCxnSpPr>
            <p:nvPr/>
          </p:nvCxnSpPr>
          <p:spPr>
            <a:xfrm rot="16200000" flipH="1">
              <a:off x="4033253" y="6470412"/>
              <a:ext cx="141097" cy="45715"/>
            </a:xfrm>
            <a:prstGeom prst="curvedConnector4">
              <a:avLst>
                <a:gd name="adj1" fmla="val -18601"/>
                <a:gd name="adj2" fmla="val 176689"/>
              </a:avLst>
            </a:prstGeom>
            <a:noFill/>
            <a:ln w="9525" cap="rnd" cmpd="sng" algn="ctr">
              <a:solidFill>
                <a:srgbClr val="006037"/>
              </a:solidFill>
              <a:prstDash val="sysDash"/>
              <a:round/>
              <a:headEnd type="none" w="med" len="med"/>
              <a:tailEnd type="triangle" w="med" len="med"/>
            </a:ln>
            <a:effectLst/>
          </p:spPr>
        </p:cxnSp>
      </p:grpSp>
      <p:sp>
        <p:nvSpPr>
          <p:cNvPr id="46" name="Text Box 1593">
            <a:extLst>
              <a:ext uri="{FF2B5EF4-FFF2-40B4-BE49-F238E27FC236}">
                <a16:creationId xmlns:a16="http://schemas.microsoft.com/office/drawing/2014/main" id="{95B9BFA2-6D5A-DC5A-7CA4-BC6E100F9C56}"/>
              </a:ext>
            </a:extLst>
          </p:cNvPr>
          <p:cNvSpPr txBox="1"/>
          <p:nvPr/>
        </p:nvSpPr>
        <p:spPr>
          <a:xfrm>
            <a:off x="4178546" y="5410108"/>
            <a:ext cx="6000968" cy="15234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wrap="square" lIns="0" tIns="0" rIns="0" bIns="0" anchor="ctr">
            <a:spAutoFit/>
          </a:bodyPr>
          <a:lstStyle/>
          <a:p>
            <a:pPr>
              <a:lnSpc>
                <a:spcPct val="90000"/>
              </a:lnSpc>
            </a:pPr>
            <a:r>
              <a:rPr lang="en-US" sz="1100" b="1" dirty="0">
                <a:solidFill>
                  <a:srgbClr val="002060"/>
                </a:solidFill>
              </a:rPr>
              <a:t>Advocacy efforts</a:t>
            </a:r>
            <a:r>
              <a:rPr lang="en-US" sz="1100" dirty="0">
                <a:solidFill>
                  <a:srgbClr val="262626"/>
                </a:solidFill>
              </a:rPr>
              <a:t> to raise awareness and advocate for women to be at the centre of the political agenda</a:t>
            </a:r>
            <a:endParaRPr lang="en-US" sz="1100" dirty="0">
              <a:effectLst/>
              <a:ea typeface="Calibri" panose="020F0502020204030204" pitchFamily="34" charset="0"/>
              <a:cs typeface="Calibri" panose="020F0502020204030204" pitchFamily="34" charset="0"/>
            </a:endParaRPr>
          </a:p>
        </p:txBody>
      </p:sp>
      <p:cxnSp>
        <p:nvCxnSpPr>
          <p:cNvPr id="49" name="Straight Connector 48">
            <a:extLst>
              <a:ext uri="{FF2B5EF4-FFF2-40B4-BE49-F238E27FC236}">
                <a16:creationId xmlns:a16="http://schemas.microsoft.com/office/drawing/2014/main" id="{60A0AF74-3F41-D2C5-09A3-DC5E3B1B0F7C}"/>
              </a:ext>
            </a:extLst>
          </p:cNvPr>
          <p:cNvCxnSpPr>
            <a:cxnSpLocks/>
          </p:cNvCxnSpPr>
          <p:nvPr/>
        </p:nvCxnSpPr>
        <p:spPr>
          <a:xfrm flipH="1" flipV="1">
            <a:off x="3844477" y="5324835"/>
            <a:ext cx="6405086" cy="21218"/>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64" name="Isosceles Triangle 133">
            <a:extLst>
              <a:ext uri="{FF2B5EF4-FFF2-40B4-BE49-F238E27FC236}">
                <a16:creationId xmlns:a16="http://schemas.microsoft.com/office/drawing/2014/main" id="{4E1FB09F-CE00-F7DB-C647-0B07F7C20E4D}"/>
              </a:ext>
            </a:extLst>
          </p:cNvPr>
          <p:cNvSpPr>
            <a:spLocks/>
          </p:cNvSpPr>
          <p:nvPr/>
        </p:nvSpPr>
        <p:spPr>
          <a:xfrm flipV="1">
            <a:off x="3720540" y="4568996"/>
            <a:ext cx="182257" cy="140352"/>
          </a:xfrm>
          <a:prstGeom prst="triangle">
            <a:avLst/>
          </a:prstGeom>
          <a:solidFill>
            <a:srgbClr val="FF0000"/>
          </a:solidFill>
          <a:ln w="9525" cap="rnd" cmpd="sng" algn="ctr">
            <a:solidFill>
              <a:srgbClr val="FF0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6" name="ee4pContent1">
            <a:extLst>
              <a:ext uri="{FF2B5EF4-FFF2-40B4-BE49-F238E27FC236}">
                <a16:creationId xmlns:a16="http://schemas.microsoft.com/office/drawing/2014/main" id="{79368920-8BED-0443-386D-48F89D180150}"/>
              </a:ext>
            </a:extLst>
          </p:cNvPr>
          <p:cNvSpPr txBox="1"/>
          <p:nvPr/>
        </p:nvSpPr>
        <p:spPr>
          <a:xfrm>
            <a:off x="3282762" y="4764474"/>
            <a:ext cx="1057813"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buNone/>
              <a:defRPr/>
            </a:pPr>
            <a:r>
              <a:rPr lang="en-US" sz="1100" dirty="0">
                <a:solidFill>
                  <a:srgbClr val="262626"/>
                </a:solidFill>
                <a:cs typeface="Mangal" panose="02040503050203030202" pitchFamily="18" charset="0"/>
              </a:rPr>
              <a:t>Launch </a:t>
            </a:r>
            <a:r>
              <a:rPr lang="en-US" sz="1100" b="1" dirty="0">
                <a:solidFill>
                  <a:srgbClr val="2E3558"/>
                </a:solidFill>
                <a:cs typeface="Mangal" panose="02040503050203030202" pitchFamily="18" charset="0"/>
              </a:rPr>
              <a:t>PPH Framework</a:t>
            </a:r>
            <a:endParaRPr lang="en-US" sz="1100" b="1" dirty="0">
              <a:solidFill>
                <a:srgbClr val="2E3558"/>
              </a:solidFill>
            </a:endParaRPr>
          </a:p>
        </p:txBody>
      </p:sp>
      <p:cxnSp>
        <p:nvCxnSpPr>
          <p:cNvPr id="73" name="Connector: Curved 72">
            <a:extLst>
              <a:ext uri="{FF2B5EF4-FFF2-40B4-BE49-F238E27FC236}">
                <a16:creationId xmlns:a16="http://schemas.microsoft.com/office/drawing/2014/main" id="{6E631324-A0A1-5316-2763-07AF1DCBEF99}"/>
              </a:ext>
            </a:extLst>
          </p:cNvPr>
          <p:cNvCxnSpPr>
            <a:cxnSpLocks/>
          </p:cNvCxnSpPr>
          <p:nvPr/>
        </p:nvCxnSpPr>
        <p:spPr>
          <a:xfrm rot="16200000" flipH="1">
            <a:off x="3667800" y="4774497"/>
            <a:ext cx="837795" cy="330200"/>
          </a:xfrm>
          <a:prstGeom prst="curvedConnector3">
            <a:avLst>
              <a:gd name="adj1" fmla="val -4572"/>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AABEED36-FCB5-BFBF-D354-AABC32C8A8BC}"/>
              </a:ext>
            </a:extLst>
          </p:cNvPr>
          <p:cNvSpPr/>
          <p:nvPr/>
        </p:nvSpPr>
        <p:spPr>
          <a:xfrm>
            <a:off x="457080" y="1482251"/>
            <a:ext cx="925939" cy="935514"/>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Research</a:t>
            </a:r>
          </a:p>
        </p:txBody>
      </p:sp>
      <p:sp>
        <p:nvSpPr>
          <p:cNvPr id="78" name="Rectangle 77">
            <a:extLst>
              <a:ext uri="{FF2B5EF4-FFF2-40B4-BE49-F238E27FC236}">
                <a16:creationId xmlns:a16="http://schemas.microsoft.com/office/drawing/2014/main" id="{AC0ECB48-2655-87AC-6430-E783E872FF3D}"/>
              </a:ext>
            </a:extLst>
          </p:cNvPr>
          <p:cNvSpPr/>
          <p:nvPr/>
        </p:nvSpPr>
        <p:spPr>
          <a:xfrm>
            <a:off x="457080" y="2486369"/>
            <a:ext cx="925939" cy="935514"/>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Norms &amp;</a:t>
            </a:r>
          </a:p>
          <a:p>
            <a:pPr algn="ctr"/>
            <a:r>
              <a:rPr lang="en-US" sz="990" dirty="0">
                <a:solidFill>
                  <a:srgbClr val="262626"/>
                </a:solidFill>
              </a:rPr>
              <a:t>Standards</a:t>
            </a:r>
          </a:p>
        </p:txBody>
      </p:sp>
      <p:sp>
        <p:nvSpPr>
          <p:cNvPr id="79" name="Rectangle 78">
            <a:extLst>
              <a:ext uri="{FF2B5EF4-FFF2-40B4-BE49-F238E27FC236}">
                <a16:creationId xmlns:a16="http://schemas.microsoft.com/office/drawing/2014/main" id="{AC768544-06E1-129F-D303-604ADF8EF5D5}"/>
              </a:ext>
            </a:extLst>
          </p:cNvPr>
          <p:cNvSpPr/>
          <p:nvPr/>
        </p:nvSpPr>
        <p:spPr>
          <a:xfrm>
            <a:off x="457080" y="3501268"/>
            <a:ext cx="925939" cy="1625768"/>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Implementation</a:t>
            </a:r>
          </a:p>
        </p:txBody>
      </p:sp>
      <p:sp>
        <p:nvSpPr>
          <p:cNvPr id="86" name="Rectangle 85">
            <a:extLst>
              <a:ext uri="{FF2B5EF4-FFF2-40B4-BE49-F238E27FC236}">
                <a16:creationId xmlns:a16="http://schemas.microsoft.com/office/drawing/2014/main" id="{5815BA25-21AD-3BF6-6C53-846A39F6F42E}"/>
              </a:ext>
            </a:extLst>
          </p:cNvPr>
          <p:cNvSpPr/>
          <p:nvPr/>
        </p:nvSpPr>
        <p:spPr>
          <a:xfrm>
            <a:off x="457080" y="5232399"/>
            <a:ext cx="925939" cy="959717"/>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Advocacy</a:t>
            </a:r>
          </a:p>
        </p:txBody>
      </p:sp>
      <p:sp>
        <p:nvSpPr>
          <p:cNvPr id="88" name="Rectangle 87">
            <a:extLst>
              <a:ext uri="{FF2B5EF4-FFF2-40B4-BE49-F238E27FC236}">
                <a16:creationId xmlns:a16="http://schemas.microsoft.com/office/drawing/2014/main" id="{BFE34516-5944-FDBB-AEFA-CF3E5058F832}"/>
              </a:ext>
            </a:extLst>
          </p:cNvPr>
          <p:cNvSpPr/>
          <p:nvPr/>
        </p:nvSpPr>
        <p:spPr>
          <a:xfrm>
            <a:off x="10365666" y="3489866"/>
            <a:ext cx="1540584" cy="1581934"/>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dirty="0">
                <a:solidFill>
                  <a:srgbClr val="262626"/>
                </a:solidFill>
              </a:rPr>
              <a:t>Priority implementation</a:t>
            </a:r>
            <a:br>
              <a:rPr lang="en-US" sz="1000" dirty="0">
                <a:solidFill>
                  <a:srgbClr val="262626"/>
                </a:solidFill>
              </a:rPr>
            </a:br>
            <a:r>
              <a:rPr lang="en-US" sz="1000" b="1" dirty="0">
                <a:solidFill>
                  <a:srgbClr val="0070C0"/>
                </a:solidFill>
              </a:rPr>
              <a:t>bottlenecks</a:t>
            </a:r>
            <a:r>
              <a:rPr lang="en-US" sz="1000" dirty="0">
                <a:solidFill>
                  <a:srgbClr val="262626"/>
                </a:solidFill>
              </a:rPr>
              <a:t> </a:t>
            </a:r>
            <a:r>
              <a:rPr lang="en-US" sz="1000" b="1" dirty="0">
                <a:solidFill>
                  <a:srgbClr val="0070C0"/>
                </a:solidFill>
              </a:rPr>
              <a:t>and</a:t>
            </a:r>
            <a:r>
              <a:rPr lang="en-US" sz="1000" dirty="0">
                <a:solidFill>
                  <a:srgbClr val="262626"/>
                </a:solidFill>
              </a:rPr>
              <a:t> </a:t>
            </a:r>
            <a:r>
              <a:rPr lang="en-US" sz="1000" b="1" dirty="0">
                <a:solidFill>
                  <a:srgbClr val="0070C0"/>
                </a:solidFill>
              </a:rPr>
              <a:t>hurdles</a:t>
            </a:r>
            <a:r>
              <a:rPr lang="en-US" sz="1000" dirty="0">
                <a:solidFill>
                  <a:srgbClr val="262626"/>
                </a:solidFill>
              </a:rPr>
              <a:t>, incl. context-specific ones, have been </a:t>
            </a:r>
            <a:r>
              <a:rPr lang="en-US" sz="1000" b="1" dirty="0">
                <a:solidFill>
                  <a:srgbClr val="0070C0"/>
                </a:solidFill>
              </a:rPr>
              <a:t>removed</a:t>
            </a:r>
          </a:p>
        </p:txBody>
      </p:sp>
      <p:sp>
        <p:nvSpPr>
          <p:cNvPr id="89" name="ee4pContent1">
            <a:extLst>
              <a:ext uri="{FF2B5EF4-FFF2-40B4-BE49-F238E27FC236}">
                <a16:creationId xmlns:a16="http://schemas.microsoft.com/office/drawing/2014/main" id="{F08A098B-5F81-DA0C-F8A8-342646C49A54}"/>
              </a:ext>
            </a:extLst>
          </p:cNvPr>
          <p:cNvSpPr txBox="1"/>
          <p:nvPr/>
        </p:nvSpPr>
        <p:spPr>
          <a:xfrm>
            <a:off x="3915441" y="3640964"/>
            <a:ext cx="5852942" cy="20103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dirty="0">
                <a:solidFill>
                  <a:srgbClr val="002060"/>
                </a:solidFill>
              </a:rPr>
              <a:t>PPH guideline </a:t>
            </a:r>
            <a:r>
              <a:rPr lang="en-US" sz="1100" b="1" dirty="0">
                <a:solidFill>
                  <a:srgbClr val="002060"/>
                </a:solidFill>
              </a:rPr>
              <a:t>adaptation and adoption</a:t>
            </a:r>
            <a:r>
              <a:rPr lang="en-US" sz="1100" kern="1200" dirty="0">
                <a:solidFill>
                  <a:srgbClr val="262626"/>
                </a:solidFill>
                <a:effectLst/>
              </a:rPr>
              <a:t> to support dissemination and implementation in-country</a:t>
            </a:r>
            <a:endParaRPr lang="en-US" sz="1100" dirty="0">
              <a:solidFill>
                <a:srgbClr val="262626"/>
              </a:solidFill>
            </a:endParaRPr>
          </a:p>
        </p:txBody>
      </p:sp>
      <p:sp>
        <p:nvSpPr>
          <p:cNvPr id="96" name="Text Box 1595">
            <a:extLst>
              <a:ext uri="{FF2B5EF4-FFF2-40B4-BE49-F238E27FC236}">
                <a16:creationId xmlns:a16="http://schemas.microsoft.com/office/drawing/2014/main" id="{AC934FB1-9122-808A-186F-1185D85153E6}"/>
              </a:ext>
            </a:extLst>
          </p:cNvPr>
          <p:cNvSpPr txBox="1"/>
          <p:nvPr/>
        </p:nvSpPr>
        <p:spPr>
          <a:xfrm>
            <a:off x="2862286" y="4036119"/>
            <a:ext cx="7387277" cy="15234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wrap="square" lIns="0" tIns="0" rIns="0" bIns="0" anchor="ctr">
            <a:spAutoFit/>
          </a:bodyPr>
          <a:lstStyle/>
          <a:p>
            <a:pPr algn="ctr">
              <a:lnSpc>
                <a:spcPct val="90000"/>
              </a:lnSpc>
            </a:pPr>
            <a:r>
              <a:rPr lang="en-US" sz="1100" dirty="0">
                <a:solidFill>
                  <a:srgbClr val="262626"/>
                </a:solidFill>
              </a:rPr>
              <a:t>Support authorization of full scope of practice for </a:t>
            </a:r>
            <a:r>
              <a:rPr lang="en-US" sz="1100" b="1" dirty="0">
                <a:solidFill>
                  <a:srgbClr val="002060"/>
                </a:solidFill>
              </a:rPr>
              <a:t>midwifery and other cadres; capacity building, professional development</a:t>
            </a:r>
          </a:p>
        </p:txBody>
      </p:sp>
      <p:cxnSp>
        <p:nvCxnSpPr>
          <p:cNvPr id="97" name="Straight Connector 96">
            <a:extLst>
              <a:ext uri="{FF2B5EF4-FFF2-40B4-BE49-F238E27FC236}">
                <a16:creationId xmlns:a16="http://schemas.microsoft.com/office/drawing/2014/main" id="{CC7CC2D7-357D-7EAA-DFB6-9ABC6B351E57}"/>
              </a:ext>
            </a:extLst>
          </p:cNvPr>
          <p:cNvCxnSpPr>
            <a:cxnSpLocks/>
          </p:cNvCxnSpPr>
          <p:nvPr/>
        </p:nvCxnSpPr>
        <p:spPr>
          <a:xfrm flipH="1">
            <a:off x="2862286" y="3967271"/>
            <a:ext cx="7387277" cy="11989"/>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98" name="Straight Connector 97">
            <a:extLst>
              <a:ext uri="{FF2B5EF4-FFF2-40B4-BE49-F238E27FC236}">
                <a16:creationId xmlns:a16="http://schemas.microsoft.com/office/drawing/2014/main" id="{666C9CB0-5BCD-40D9-6A25-C00E3ED955B8}"/>
              </a:ext>
            </a:extLst>
          </p:cNvPr>
          <p:cNvCxnSpPr>
            <a:cxnSpLocks/>
          </p:cNvCxnSpPr>
          <p:nvPr/>
        </p:nvCxnSpPr>
        <p:spPr>
          <a:xfrm flipH="1">
            <a:off x="2862286" y="3605624"/>
            <a:ext cx="7387277" cy="22464"/>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99" name="Rectangle 98">
            <a:extLst>
              <a:ext uri="{FF2B5EF4-FFF2-40B4-BE49-F238E27FC236}">
                <a16:creationId xmlns:a16="http://schemas.microsoft.com/office/drawing/2014/main" id="{4E4F9A36-35F7-EEFF-08D1-DEADEF78F62B}"/>
              </a:ext>
            </a:extLst>
          </p:cNvPr>
          <p:cNvSpPr/>
          <p:nvPr/>
        </p:nvSpPr>
        <p:spPr>
          <a:xfrm>
            <a:off x="213360" y="1486533"/>
            <a:ext cx="152590" cy="4705584"/>
          </a:xfrm>
          <a:prstGeom prst="rect">
            <a:avLst/>
          </a:prstGeom>
          <a:solidFill>
            <a:srgbClr val="CAE5E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100" dirty="0">
                <a:solidFill>
                  <a:srgbClr val="0070C0"/>
                </a:solidFill>
              </a:rPr>
              <a:t>Strategic areas</a:t>
            </a:r>
          </a:p>
        </p:txBody>
      </p:sp>
      <p:cxnSp>
        <p:nvCxnSpPr>
          <p:cNvPr id="100" name="Connector: Curved 99">
            <a:extLst>
              <a:ext uri="{FF2B5EF4-FFF2-40B4-BE49-F238E27FC236}">
                <a16:creationId xmlns:a16="http://schemas.microsoft.com/office/drawing/2014/main" id="{D7875F0C-3B79-142C-9023-0FF92519E937}"/>
              </a:ext>
            </a:extLst>
          </p:cNvPr>
          <p:cNvCxnSpPr>
            <a:cxnSpLocks/>
          </p:cNvCxnSpPr>
          <p:nvPr/>
        </p:nvCxnSpPr>
        <p:spPr>
          <a:xfrm rot="16200000" flipH="1">
            <a:off x="4012791" y="2824301"/>
            <a:ext cx="1031042" cy="604461"/>
          </a:xfrm>
          <a:prstGeom prst="curvedConnector4">
            <a:avLst>
              <a:gd name="adj1" fmla="val -9709"/>
              <a:gd name="adj2" fmla="val 152114"/>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3514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27431F-ECC8-4C5F-09A4-F07431047F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Object 3" hidden="1">
                        <a:extLst>
                          <a:ext uri="{FF2B5EF4-FFF2-40B4-BE49-F238E27FC236}">
                            <a16:creationId xmlns:a16="http://schemas.microsoft.com/office/drawing/2014/main" id="{EA27431F-ECC8-4C5F-09A4-F07431047F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a:extLst>
              <a:ext uri="{FF2B5EF4-FFF2-40B4-BE49-F238E27FC236}">
                <a16:creationId xmlns:a16="http://schemas.microsoft.com/office/drawing/2014/main" id="{5FBBC4E6-86FD-63A9-49D4-1ADD15CB86B2}"/>
              </a:ext>
            </a:extLst>
          </p:cNvPr>
          <p:cNvSpPr/>
          <p:nvPr/>
        </p:nvSpPr>
        <p:spPr>
          <a:xfrm>
            <a:off x="10376637" y="1459593"/>
            <a:ext cx="1529613" cy="4780550"/>
          </a:xfrm>
          <a:prstGeom prst="rect">
            <a:avLst/>
          </a:prstGeom>
          <a:solidFill>
            <a:srgbClr val="CAE5E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06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 name="Title 1">
            <a:extLst>
              <a:ext uri="{FF2B5EF4-FFF2-40B4-BE49-F238E27FC236}">
                <a16:creationId xmlns:a16="http://schemas.microsoft.com/office/drawing/2014/main" id="{8E40274F-E4B1-6B1E-4757-E5678CAE32AA}"/>
              </a:ext>
            </a:extLst>
          </p:cNvPr>
          <p:cNvSpPr>
            <a:spLocks noGrp="1"/>
          </p:cNvSpPr>
          <p:nvPr>
            <p:ph type="title"/>
          </p:nvPr>
        </p:nvSpPr>
        <p:spPr>
          <a:xfrm>
            <a:off x="459784" y="576503"/>
            <a:ext cx="11082528" cy="332399"/>
          </a:xfrm>
        </p:spPr>
        <p:txBody>
          <a:bodyPr vert="horz"/>
          <a:lstStyle/>
          <a:p>
            <a:r>
              <a:rPr lang="en-US" b="1" dirty="0"/>
              <a:t>Roadmap to accelerate progress on Postpartum </a:t>
            </a:r>
            <a:r>
              <a:rPr lang="en-US" b="1" dirty="0" err="1"/>
              <a:t>Haemorrhage</a:t>
            </a:r>
            <a:endParaRPr lang="en-US" b="1" dirty="0"/>
          </a:p>
        </p:txBody>
      </p:sp>
      <p:sp>
        <p:nvSpPr>
          <p:cNvPr id="71" name="Isosceles Triangle 70">
            <a:extLst>
              <a:ext uri="{FF2B5EF4-FFF2-40B4-BE49-F238E27FC236}">
                <a16:creationId xmlns:a16="http://schemas.microsoft.com/office/drawing/2014/main" id="{6D471EAA-EFC1-964C-8A0C-74F39F8D3C52}"/>
              </a:ext>
            </a:extLst>
          </p:cNvPr>
          <p:cNvSpPr>
            <a:spLocks/>
          </p:cNvSpPr>
          <p:nvPr/>
        </p:nvSpPr>
        <p:spPr>
          <a:xfrm flipV="1">
            <a:off x="5010603" y="5696424"/>
            <a:ext cx="182257" cy="151981"/>
          </a:xfrm>
          <a:prstGeom prst="triangle">
            <a:avLst/>
          </a:prstGeom>
          <a:solidFill>
            <a:srgbClr val="E71C57"/>
          </a:solidFill>
          <a:ln w="9525" cap="rnd" cmpd="sng" algn="ctr">
            <a:solidFill>
              <a:srgbClr val="E71C5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72" name="ee4pContent1">
            <a:extLst>
              <a:ext uri="{FF2B5EF4-FFF2-40B4-BE49-F238E27FC236}">
                <a16:creationId xmlns:a16="http://schemas.microsoft.com/office/drawing/2014/main" id="{A9059DD4-A81B-7AE3-197B-BCDE6C593976}"/>
              </a:ext>
            </a:extLst>
          </p:cNvPr>
          <p:cNvSpPr txBox="1"/>
          <p:nvPr/>
        </p:nvSpPr>
        <p:spPr>
          <a:xfrm>
            <a:off x="3832039" y="5781029"/>
            <a:ext cx="1559806" cy="459114"/>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marR="0" lvl="0" algn="r"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lang="en-US" sz="1100" b="1" dirty="0">
                <a:solidFill>
                  <a:srgbClr val="002060"/>
                </a:solidFill>
              </a:rPr>
              <a:t>Global branding strategy </a:t>
            </a:r>
            <a:r>
              <a:rPr lang="en-US" sz="1100" dirty="0"/>
              <a:t>and advocacy framework</a:t>
            </a:r>
          </a:p>
        </p:txBody>
      </p:sp>
      <p:sp>
        <p:nvSpPr>
          <p:cNvPr id="75" name="Isosceles Triangle 74">
            <a:extLst>
              <a:ext uri="{FF2B5EF4-FFF2-40B4-BE49-F238E27FC236}">
                <a16:creationId xmlns:a16="http://schemas.microsoft.com/office/drawing/2014/main" id="{32B0E475-76E5-E953-C93B-9830BDBD09C4}"/>
              </a:ext>
            </a:extLst>
          </p:cNvPr>
          <p:cNvSpPr>
            <a:spLocks/>
          </p:cNvSpPr>
          <p:nvPr/>
        </p:nvSpPr>
        <p:spPr>
          <a:xfrm flipV="1">
            <a:off x="5801907" y="5696424"/>
            <a:ext cx="182257" cy="151981"/>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88" name="ee4pContent1">
            <a:extLst>
              <a:ext uri="{FF2B5EF4-FFF2-40B4-BE49-F238E27FC236}">
                <a16:creationId xmlns:a16="http://schemas.microsoft.com/office/drawing/2014/main" id="{D4C4D371-CDB4-8173-ED97-3F3B210DEFD7}"/>
              </a:ext>
            </a:extLst>
          </p:cNvPr>
          <p:cNvSpPr txBox="1"/>
          <p:nvPr/>
        </p:nvSpPr>
        <p:spPr>
          <a:xfrm>
            <a:off x="5609798" y="5841309"/>
            <a:ext cx="566476" cy="338554"/>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marR="0" lvl="0" algn="r" defTabSz="914400" rtl="0" eaLnBrk="1" fontAlgn="auto" latinLnBrk="0" hangingPunct="1">
              <a:lnSpc>
                <a:spcPct val="100000"/>
              </a:lnSpc>
              <a:spcBef>
                <a:spcPts val="0"/>
              </a:spcBef>
              <a:spcAft>
                <a:spcPts val="0"/>
              </a:spcAft>
              <a:buClr>
                <a:srgbClr val="000000"/>
              </a:buClr>
              <a:buSzPct val="100000"/>
              <a:buFont typeface="Trebuchet MS" panose="020B0603020202020204" pitchFamily="34" charset="0"/>
              <a:buNone/>
              <a:tabLst/>
              <a:defRPr/>
            </a:pPr>
            <a:r>
              <a:rPr lang="en-US" sz="1100" dirty="0">
                <a:solidFill>
                  <a:srgbClr val="262626"/>
                </a:solidFill>
              </a:rPr>
              <a:t>1</a:t>
            </a:r>
            <a:r>
              <a:rPr lang="en-US" sz="1100" baseline="30000" dirty="0">
                <a:solidFill>
                  <a:srgbClr val="262626"/>
                </a:solidFill>
              </a:rPr>
              <a:t>st</a:t>
            </a:r>
            <a:r>
              <a:rPr lang="en-US" sz="1100" dirty="0">
                <a:solidFill>
                  <a:srgbClr val="262626"/>
                </a:solidFill>
              </a:rPr>
              <a:t> Global </a:t>
            </a:r>
            <a:r>
              <a:rPr lang="en-US" sz="1100" b="1" dirty="0">
                <a:solidFill>
                  <a:srgbClr val="002060"/>
                </a:solidFill>
              </a:rPr>
              <a:t>PPH day</a:t>
            </a:r>
          </a:p>
        </p:txBody>
      </p:sp>
      <p:cxnSp>
        <p:nvCxnSpPr>
          <p:cNvPr id="87" name="Straight Connector 86">
            <a:extLst>
              <a:ext uri="{FF2B5EF4-FFF2-40B4-BE49-F238E27FC236}">
                <a16:creationId xmlns:a16="http://schemas.microsoft.com/office/drawing/2014/main" id="{4A261815-3363-A72A-23A5-A72E3E6ED436}"/>
              </a:ext>
            </a:extLst>
          </p:cNvPr>
          <p:cNvCxnSpPr>
            <a:cxnSpLocks/>
          </p:cNvCxnSpPr>
          <p:nvPr/>
        </p:nvCxnSpPr>
        <p:spPr>
          <a:xfrm>
            <a:off x="457080" y="1454093"/>
            <a:ext cx="11449170" cy="0"/>
          </a:xfrm>
          <a:prstGeom prst="line">
            <a:avLst/>
          </a:prstGeom>
          <a:ln w="17145" cap="flat" cmpd="sng" algn="ctr">
            <a:solidFill>
              <a:srgbClr val="000000"/>
            </a:solidFill>
            <a:prstDash val="solid"/>
            <a:round/>
            <a:headEnd type="none" w="med" len="med"/>
            <a:tailEnd type="none" w="med" len="med"/>
          </a:ln>
        </p:spPr>
      </p:cxnSp>
      <p:sp>
        <p:nvSpPr>
          <p:cNvPr id="12" name="Isosceles Triangle 11">
            <a:extLst>
              <a:ext uri="{FF2B5EF4-FFF2-40B4-BE49-F238E27FC236}">
                <a16:creationId xmlns:a16="http://schemas.microsoft.com/office/drawing/2014/main" id="{05749DB0-43EE-347A-0C85-960099D74903}"/>
              </a:ext>
            </a:extLst>
          </p:cNvPr>
          <p:cNvSpPr>
            <a:spLocks/>
          </p:cNvSpPr>
          <p:nvPr/>
        </p:nvSpPr>
        <p:spPr>
          <a:xfrm flipV="1">
            <a:off x="4178546" y="1646985"/>
            <a:ext cx="182257" cy="140352"/>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381" tIns="64191" rIns="128381" bIns="64191" numCol="1" spcCol="0" rtlCol="0" fromWordArt="0" anchor="ctr" anchorCtr="0" forceAA="0" compatLnSpc="1">
            <a:prstTxWarp prst="textNoShape">
              <a:avLst/>
            </a:prstTxWarp>
            <a:noAutofit/>
          </a:bodyPr>
          <a:lstStyle/>
          <a:p>
            <a:pPr algn="ctr"/>
            <a:endParaRPr lang="en-US" sz="1000" dirty="0">
              <a:solidFill>
                <a:srgbClr val="FFFFFF"/>
              </a:solidFill>
              <a:cs typeface="Calibri Light" panose="020F0302020204030204" pitchFamily="34" charset="0"/>
              <a:sym typeface="Calibri Light" panose="020F0302020204030204" pitchFamily="34" charset="0"/>
            </a:endParaRPr>
          </a:p>
        </p:txBody>
      </p:sp>
      <p:sp>
        <p:nvSpPr>
          <p:cNvPr id="15" name="ee4pContent1">
            <a:extLst>
              <a:ext uri="{FF2B5EF4-FFF2-40B4-BE49-F238E27FC236}">
                <a16:creationId xmlns:a16="http://schemas.microsoft.com/office/drawing/2014/main" id="{644E12C7-97A7-310F-B216-C38D39EF32F3}"/>
              </a:ext>
            </a:extLst>
          </p:cNvPr>
          <p:cNvSpPr txBox="1"/>
          <p:nvPr/>
        </p:nvSpPr>
        <p:spPr>
          <a:xfrm>
            <a:off x="3625635" y="1803109"/>
            <a:ext cx="1288080"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b="1" kern="1200" dirty="0">
                <a:solidFill>
                  <a:srgbClr val="002060"/>
                </a:solidFill>
                <a:effectLst/>
              </a:rPr>
              <a:t>Calls for proposals</a:t>
            </a:r>
            <a:r>
              <a:rPr lang="en-US" sz="1100" kern="1200" dirty="0">
                <a:solidFill>
                  <a:srgbClr val="262626"/>
                </a:solidFill>
                <a:effectLst/>
              </a:rPr>
              <a:t> to conduct top priority research</a:t>
            </a:r>
            <a:endParaRPr lang="en-US" sz="1100" dirty="0">
              <a:effectLst/>
              <a:ea typeface="Calibri" panose="020F0502020204030204" pitchFamily="34" charset="0"/>
              <a:cs typeface="Calibri" panose="020F0502020204030204" pitchFamily="34" charset="0"/>
            </a:endParaRPr>
          </a:p>
        </p:txBody>
      </p:sp>
      <p:sp>
        <p:nvSpPr>
          <p:cNvPr id="86" name="Isosceles Triangle 85">
            <a:extLst>
              <a:ext uri="{FF2B5EF4-FFF2-40B4-BE49-F238E27FC236}">
                <a16:creationId xmlns:a16="http://schemas.microsoft.com/office/drawing/2014/main" id="{BE9917D7-2FE7-5829-DD48-D5FDFFE323EA}"/>
              </a:ext>
            </a:extLst>
          </p:cNvPr>
          <p:cNvSpPr>
            <a:spLocks/>
          </p:cNvSpPr>
          <p:nvPr/>
        </p:nvSpPr>
        <p:spPr>
          <a:xfrm flipV="1">
            <a:off x="5396067" y="2603259"/>
            <a:ext cx="182257" cy="140352"/>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103" name="ee4pContent1">
            <a:extLst>
              <a:ext uri="{FF2B5EF4-FFF2-40B4-BE49-F238E27FC236}">
                <a16:creationId xmlns:a16="http://schemas.microsoft.com/office/drawing/2014/main" id="{154FA9E1-451F-8155-C2DC-A4D72CCD4E64}"/>
              </a:ext>
            </a:extLst>
          </p:cNvPr>
          <p:cNvSpPr txBox="1"/>
          <p:nvPr/>
        </p:nvSpPr>
        <p:spPr>
          <a:xfrm>
            <a:off x="5066983" y="2761844"/>
            <a:ext cx="1868130"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kern="1200" dirty="0">
                <a:solidFill>
                  <a:srgbClr val="262626"/>
                </a:solidFill>
                <a:effectLst/>
              </a:rPr>
              <a:t>Publication and updating of </a:t>
            </a:r>
            <a:r>
              <a:rPr lang="en-US" sz="1100" b="1" kern="1200" dirty="0">
                <a:solidFill>
                  <a:srgbClr val="002060"/>
                </a:solidFill>
                <a:effectLst/>
              </a:rPr>
              <a:t>consolidated guidelines and derivative tools</a:t>
            </a:r>
            <a:endParaRPr lang="en-US" sz="1100" dirty="0">
              <a:effectLst/>
              <a:ea typeface="Calibri" panose="020F0502020204030204" pitchFamily="34" charset="0"/>
              <a:cs typeface="Calibri" panose="020F0502020204030204" pitchFamily="34" charset="0"/>
            </a:endParaRPr>
          </a:p>
        </p:txBody>
      </p:sp>
      <p:cxnSp>
        <p:nvCxnSpPr>
          <p:cNvPr id="59" name="Straight Connector 58">
            <a:extLst>
              <a:ext uri="{FF2B5EF4-FFF2-40B4-BE49-F238E27FC236}">
                <a16:creationId xmlns:a16="http://schemas.microsoft.com/office/drawing/2014/main" id="{C2A97701-47D0-9BEF-D0CE-D576BB47785A}"/>
              </a:ext>
            </a:extLst>
          </p:cNvPr>
          <p:cNvCxnSpPr/>
          <p:nvPr/>
        </p:nvCxnSpPr>
        <p:spPr>
          <a:xfrm>
            <a:off x="457078" y="3456185"/>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91790CB-907C-864C-6EE1-ACC8767A8BF3}"/>
              </a:ext>
            </a:extLst>
          </p:cNvPr>
          <p:cNvCxnSpPr>
            <a:cxnSpLocks/>
          </p:cNvCxnSpPr>
          <p:nvPr/>
        </p:nvCxnSpPr>
        <p:spPr>
          <a:xfrm>
            <a:off x="457080" y="2452067"/>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3B9F747E-05CD-2096-5A92-265588BC9176}"/>
              </a:ext>
            </a:extLst>
          </p:cNvPr>
          <p:cNvCxnSpPr/>
          <p:nvPr/>
        </p:nvCxnSpPr>
        <p:spPr>
          <a:xfrm>
            <a:off x="457078" y="5161343"/>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BFD558AF-6B7D-2F9E-52CC-B7D254AD25E7}"/>
              </a:ext>
            </a:extLst>
          </p:cNvPr>
          <p:cNvSpPr/>
          <p:nvPr/>
        </p:nvSpPr>
        <p:spPr>
          <a:xfrm>
            <a:off x="10365666" y="1625491"/>
            <a:ext cx="1540584" cy="738663"/>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dirty="0">
                <a:solidFill>
                  <a:srgbClr val="262626"/>
                </a:solidFill>
              </a:rPr>
              <a:t>All </a:t>
            </a:r>
            <a:r>
              <a:rPr lang="en-US" sz="1000" b="1" dirty="0">
                <a:solidFill>
                  <a:srgbClr val="0070C0"/>
                </a:solidFill>
              </a:rPr>
              <a:t>priority questions </a:t>
            </a:r>
            <a:r>
              <a:rPr lang="en-US" sz="1000" dirty="0">
                <a:solidFill>
                  <a:srgbClr val="262626"/>
                </a:solidFill>
              </a:rPr>
              <a:t>of the research agenda have been </a:t>
            </a:r>
            <a:r>
              <a:rPr lang="en-US" sz="1000" b="1" dirty="0">
                <a:solidFill>
                  <a:srgbClr val="0070C0"/>
                </a:solidFill>
              </a:rPr>
              <a:t>answered</a:t>
            </a:r>
          </a:p>
        </p:txBody>
      </p:sp>
      <p:sp>
        <p:nvSpPr>
          <p:cNvPr id="33" name="Rectangle 32">
            <a:extLst>
              <a:ext uri="{FF2B5EF4-FFF2-40B4-BE49-F238E27FC236}">
                <a16:creationId xmlns:a16="http://schemas.microsoft.com/office/drawing/2014/main" id="{A4E5630D-FDB3-13A9-83EF-81F32D1CC222}"/>
              </a:ext>
            </a:extLst>
          </p:cNvPr>
          <p:cNvSpPr/>
          <p:nvPr/>
        </p:nvSpPr>
        <p:spPr>
          <a:xfrm>
            <a:off x="10392215" y="2427559"/>
            <a:ext cx="1508298" cy="1058024"/>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b="1" dirty="0">
                <a:solidFill>
                  <a:srgbClr val="0070C0"/>
                </a:solidFill>
              </a:rPr>
              <a:t>Global guidelines </a:t>
            </a:r>
            <a:r>
              <a:rPr lang="en-US" sz="1000" dirty="0">
                <a:solidFill>
                  <a:srgbClr val="262626"/>
                </a:solidFill>
              </a:rPr>
              <a:t>reflect latest evidence available, and are cascaded into </a:t>
            </a:r>
            <a:r>
              <a:rPr lang="en-US" sz="1000" b="1" dirty="0">
                <a:solidFill>
                  <a:srgbClr val="0070C0"/>
                </a:solidFill>
              </a:rPr>
              <a:t>national guidelines</a:t>
            </a:r>
            <a:r>
              <a:rPr lang="en-US" sz="1000" dirty="0">
                <a:solidFill>
                  <a:srgbClr val="262626"/>
                </a:solidFill>
              </a:rPr>
              <a:t>, with clear clinical protocols</a:t>
            </a:r>
          </a:p>
        </p:txBody>
      </p:sp>
      <p:sp>
        <p:nvSpPr>
          <p:cNvPr id="37" name="Rectangle 36">
            <a:extLst>
              <a:ext uri="{FF2B5EF4-FFF2-40B4-BE49-F238E27FC236}">
                <a16:creationId xmlns:a16="http://schemas.microsoft.com/office/drawing/2014/main" id="{6F093D76-7A15-3A77-1CB1-5CBCB051ED5C}"/>
              </a:ext>
            </a:extLst>
          </p:cNvPr>
          <p:cNvSpPr/>
          <p:nvPr/>
        </p:nvSpPr>
        <p:spPr>
          <a:xfrm>
            <a:off x="10365666" y="5159713"/>
            <a:ext cx="1540584" cy="1118325"/>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Successful </a:t>
            </a:r>
            <a:r>
              <a:rPr lang="en-US" sz="1000" b="1" dirty="0">
                <a:solidFill>
                  <a:srgbClr val="0070C0"/>
                </a:solidFill>
              </a:rPr>
              <a:t>engagement</a:t>
            </a:r>
            <a:r>
              <a:rPr lang="en-US" sz="990" dirty="0">
                <a:solidFill>
                  <a:srgbClr val="262626"/>
                </a:solidFill>
              </a:rPr>
              <a:t> of all target audiences</a:t>
            </a:r>
          </a:p>
        </p:txBody>
      </p:sp>
      <p:sp>
        <p:nvSpPr>
          <p:cNvPr id="52" name="Rectangle 51">
            <a:extLst>
              <a:ext uri="{FF2B5EF4-FFF2-40B4-BE49-F238E27FC236}">
                <a16:creationId xmlns:a16="http://schemas.microsoft.com/office/drawing/2014/main" id="{880152E6-9F98-95E0-7F52-1D8F4B9FA47D}"/>
              </a:ext>
            </a:extLst>
          </p:cNvPr>
          <p:cNvSpPr/>
          <p:nvPr/>
        </p:nvSpPr>
        <p:spPr>
          <a:xfrm>
            <a:off x="10376637" y="980477"/>
            <a:ext cx="1529613" cy="293659"/>
          </a:xfrm>
          <a:prstGeom prst="rect">
            <a:avLst/>
          </a:prstGeom>
          <a:solidFill>
            <a:srgbClr val="CAE5EE"/>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2060"/>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0070C0"/>
                </a:solidFill>
              </a:rPr>
              <a:t>Objective</a:t>
            </a:r>
          </a:p>
        </p:txBody>
      </p:sp>
      <p:sp>
        <p:nvSpPr>
          <p:cNvPr id="29" name="Arrow: Chevron 28">
            <a:extLst>
              <a:ext uri="{FF2B5EF4-FFF2-40B4-BE49-F238E27FC236}">
                <a16:creationId xmlns:a16="http://schemas.microsoft.com/office/drawing/2014/main" id="{408B3DFE-0689-D9CC-1C1C-1CC48019BD29}"/>
              </a:ext>
            </a:extLst>
          </p:cNvPr>
          <p:cNvSpPr/>
          <p:nvPr/>
        </p:nvSpPr>
        <p:spPr>
          <a:xfrm>
            <a:off x="1448148" y="980477"/>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60" b="0" i="0" u="none" strike="noStrike" kern="1200" cap="none" spc="0" normalizeH="0" baseline="0" noProof="0" dirty="0">
                <a:ln>
                  <a:noFill/>
                </a:ln>
                <a:solidFill>
                  <a:srgbClr val="FFFFFF"/>
                </a:solidFill>
                <a:effectLst/>
                <a:uLnTx/>
                <a:uFillTx/>
                <a:ea typeface="+mn-ea"/>
                <a:cs typeface="+mn-cs"/>
              </a:rPr>
              <a:t>Q2 2023</a:t>
            </a:r>
          </a:p>
        </p:txBody>
      </p:sp>
      <p:sp>
        <p:nvSpPr>
          <p:cNvPr id="30" name="Arrow: Chevron 29">
            <a:extLst>
              <a:ext uri="{FF2B5EF4-FFF2-40B4-BE49-F238E27FC236}">
                <a16:creationId xmlns:a16="http://schemas.microsoft.com/office/drawing/2014/main" id="{58224400-680E-AA5E-4802-CAE45D742C2A}"/>
              </a:ext>
            </a:extLst>
          </p:cNvPr>
          <p:cNvSpPr/>
          <p:nvPr/>
        </p:nvSpPr>
        <p:spPr>
          <a:xfrm>
            <a:off x="2259829" y="980477"/>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defRPr/>
            </a:pPr>
            <a:r>
              <a:rPr kumimoji="0" lang="fr-FR" sz="1260" b="0" i="0" u="none" strike="noStrike" kern="1200" cap="none" spc="0" normalizeH="0" baseline="0" noProof="0" dirty="0">
                <a:ln>
                  <a:noFill/>
                </a:ln>
                <a:solidFill>
                  <a:srgbClr val="FFFFFF"/>
                </a:solidFill>
                <a:effectLst/>
                <a:uLnTx/>
                <a:uFillTx/>
                <a:ea typeface="+mn-ea"/>
                <a:cs typeface="+mn-cs"/>
              </a:rPr>
              <a:t>Q3 2023</a:t>
            </a:r>
          </a:p>
        </p:txBody>
      </p:sp>
      <p:sp>
        <p:nvSpPr>
          <p:cNvPr id="31" name="Arrow: Chevron 30">
            <a:extLst>
              <a:ext uri="{FF2B5EF4-FFF2-40B4-BE49-F238E27FC236}">
                <a16:creationId xmlns:a16="http://schemas.microsoft.com/office/drawing/2014/main" id="{2249ADC3-CC27-8EDF-1EE9-0257B1C9AE3B}"/>
              </a:ext>
            </a:extLst>
          </p:cNvPr>
          <p:cNvSpPr/>
          <p:nvPr/>
        </p:nvSpPr>
        <p:spPr>
          <a:xfrm>
            <a:off x="3071509" y="980477"/>
            <a:ext cx="772968" cy="299159"/>
          </a:xfrm>
          <a:prstGeom prst="chevron">
            <a:avLst>
              <a:gd name="adj" fmla="val 12931"/>
            </a:avLst>
          </a:prstGeom>
          <a:solidFill>
            <a:srgbClr val="0070C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r>
              <a:rPr kumimoji="0" lang="fr-FR" sz="1260" b="0" i="0" u="none" strike="noStrike" kern="1200" cap="none" spc="0" normalizeH="0" baseline="0" noProof="0" dirty="0">
                <a:ln>
                  <a:noFill/>
                </a:ln>
                <a:solidFill>
                  <a:srgbClr val="FFFFFF"/>
                </a:solidFill>
                <a:effectLst/>
                <a:uLnTx/>
                <a:uFillTx/>
                <a:ea typeface="+mn-ea"/>
                <a:cs typeface="+mn-cs"/>
              </a:rPr>
              <a:t>Q4 2023</a:t>
            </a:r>
          </a:p>
        </p:txBody>
      </p:sp>
      <p:sp>
        <p:nvSpPr>
          <p:cNvPr id="32" name="Arrow: Chevron 31">
            <a:extLst>
              <a:ext uri="{FF2B5EF4-FFF2-40B4-BE49-F238E27FC236}">
                <a16:creationId xmlns:a16="http://schemas.microsoft.com/office/drawing/2014/main" id="{14CAEDB1-E337-D8B3-EB93-8934E4F79B6C}"/>
              </a:ext>
            </a:extLst>
          </p:cNvPr>
          <p:cNvSpPr/>
          <p:nvPr/>
        </p:nvSpPr>
        <p:spPr>
          <a:xfrm>
            <a:off x="3883190" y="980477"/>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H1 2024</a:t>
            </a:r>
          </a:p>
        </p:txBody>
      </p:sp>
      <p:sp>
        <p:nvSpPr>
          <p:cNvPr id="34" name="Arrow: Chevron 33">
            <a:extLst>
              <a:ext uri="{FF2B5EF4-FFF2-40B4-BE49-F238E27FC236}">
                <a16:creationId xmlns:a16="http://schemas.microsoft.com/office/drawing/2014/main" id="{DAD64727-7929-2301-8383-7C40031E4847}"/>
              </a:ext>
            </a:extLst>
          </p:cNvPr>
          <p:cNvSpPr/>
          <p:nvPr/>
        </p:nvSpPr>
        <p:spPr>
          <a:xfrm>
            <a:off x="4694871" y="980477"/>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H2 2024</a:t>
            </a:r>
          </a:p>
        </p:txBody>
      </p:sp>
      <p:sp>
        <p:nvSpPr>
          <p:cNvPr id="80" name="Arrow: Chevron 79">
            <a:extLst>
              <a:ext uri="{FF2B5EF4-FFF2-40B4-BE49-F238E27FC236}">
                <a16:creationId xmlns:a16="http://schemas.microsoft.com/office/drawing/2014/main" id="{B5DBB5C8-43DF-882C-8963-D1D6766082DA}"/>
              </a:ext>
            </a:extLst>
          </p:cNvPr>
          <p:cNvSpPr/>
          <p:nvPr/>
        </p:nvSpPr>
        <p:spPr>
          <a:xfrm>
            <a:off x="5506552"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5</a:t>
            </a:r>
          </a:p>
        </p:txBody>
      </p:sp>
      <p:sp>
        <p:nvSpPr>
          <p:cNvPr id="81" name="Arrow: Chevron 80">
            <a:extLst>
              <a:ext uri="{FF2B5EF4-FFF2-40B4-BE49-F238E27FC236}">
                <a16:creationId xmlns:a16="http://schemas.microsoft.com/office/drawing/2014/main" id="{7EEE773F-BD05-52FA-4E5A-0A511C961F3F}"/>
              </a:ext>
            </a:extLst>
          </p:cNvPr>
          <p:cNvSpPr/>
          <p:nvPr/>
        </p:nvSpPr>
        <p:spPr>
          <a:xfrm>
            <a:off x="6318233"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6</a:t>
            </a:r>
          </a:p>
        </p:txBody>
      </p:sp>
      <p:sp>
        <p:nvSpPr>
          <p:cNvPr id="82" name="Arrow: Chevron 81">
            <a:extLst>
              <a:ext uri="{FF2B5EF4-FFF2-40B4-BE49-F238E27FC236}">
                <a16:creationId xmlns:a16="http://schemas.microsoft.com/office/drawing/2014/main" id="{0EF17916-C367-80A4-88A1-8A0C8600CC3E}"/>
              </a:ext>
            </a:extLst>
          </p:cNvPr>
          <p:cNvSpPr/>
          <p:nvPr/>
        </p:nvSpPr>
        <p:spPr>
          <a:xfrm>
            <a:off x="7129914"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7</a:t>
            </a:r>
          </a:p>
        </p:txBody>
      </p:sp>
      <p:sp>
        <p:nvSpPr>
          <p:cNvPr id="83" name="Arrow: Chevron 82">
            <a:extLst>
              <a:ext uri="{FF2B5EF4-FFF2-40B4-BE49-F238E27FC236}">
                <a16:creationId xmlns:a16="http://schemas.microsoft.com/office/drawing/2014/main" id="{BF663153-0E89-C86E-1487-6FC1CDA9FC30}"/>
              </a:ext>
            </a:extLst>
          </p:cNvPr>
          <p:cNvSpPr/>
          <p:nvPr/>
        </p:nvSpPr>
        <p:spPr>
          <a:xfrm>
            <a:off x="7941594"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8</a:t>
            </a:r>
          </a:p>
        </p:txBody>
      </p:sp>
      <p:sp>
        <p:nvSpPr>
          <p:cNvPr id="84" name="Arrow: Chevron 83">
            <a:extLst>
              <a:ext uri="{FF2B5EF4-FFF2-40B4-BE49-F238E27FC236}">
                <a16:creationId xmlns:a16="http://schemas.microsoft.com/office/drawing/2014/main" id="{6F6EF02D-FAAC-5B06-D2CD-D6CB0217B324}"/>
              </a:ext>
            </a:extLst>
          </p:cNvPr>
          <p:cNvSpPr/>
          <p:nvPr/>
        </p:nvSpPr>
        <p:spPr>
          <a:xfrm>
            <a:off x="8753275"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29</a:t>
            </a:r>
          </a:p>
        </p:txBody>
      </p:sp>
      <p:sp>
        <p:nvSpPr>
          <p:cNvPr id="85" name="Arrow: Chevron 84">
            <a:extLst>
              <a:ext uri="{FF2B5EF4-FFF2-40B4-BE49-F238E27FC236}">
                <a16:creationId xmlns:a16="http://schemas.microsoft.com/office/drawing/2014/main" id="{C01F621C-726E-427B-4176-1F404ABC0BC5}"/>
              </a:ext>
            </a:extLst>
          </p:cNvPr>
          <p:cNvSpPr/>
          <p:nvPr/>
        </p:nvSpPr>
        <p:spPr>
          <a:xfrm>
            <a:off x="9564956" y="980477"/>
            <a:ext cx="772968" cy="299159"/>
          </a:xfrm>
          <a:prstGeom prst="chevron">
            <a:avLst>
              <a:gd name="adj" fmla="val 12931"/>
            </a:avLst>
          </a:prstGeom>
          <a:solidFill>
            <a:srgbClr val="FFFFFF"/>
          </a:solidFill>
          <a:ln w="8572" cap="rnd" cmpd="sng" algn="ctr">
            <a:solidFill>
              <a:srgbClr val="0070C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260" dirty="0">
                <a:solidFill>
                  <a:srgbClr val="0070C0"/>
                </a:solidFill>
              </a:rPr>
              <a:t>2030</a:t>
            </a:r>
          </a:p>
        </p:txBody>
      </p:sp>
      <p:sp>
        <p:nvSpPr>
          <p:cNvPr id="53" name="Arrow: Chevron 52">
            <a:extLst>
              <a:ext uri="{FF2B5EF4-FFF2-40B4-BE49-F238E27FC236}">
                <a16:creationId xmlns:a16="http://schemas.microsoft.com/office/drawing/2014/main" id="{903931A9-DC3A-16FE-0F81-F57579E20FD2}"/>
              </a:ext>
            </a:extLst>
          </p:cNvPr>
          <p:cNvSpPr/>
          <p:nvPr/>
        </p:nvSpPr>
        <p:spPr>
          <a:xfrm>
            <a:off x="10322684" y="980477"/>
            <a:ext cx="99299" cy="299159"/>
          </a:xfrm>
          <a:prstGeom prst="chevron">
            <a:avLst>
              <a:gd name="adj" fmla="val 34514"/>
            </a:avLst>
          </a:prstGeom>
          <a:solidFill>
            <a:srgbClr val="FFFFFF"/>
          </a:solidFill>
          <a:ln w="8572"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buFontTx/>
              <a:buNone/>
              <a:tabLst/>
              <a:defRPr/>
            </a:pPr>
            <a:endParaRPr kumimoji="0" lang="fr-FR" sz="1260" b="0" i="0" u="none" strike="noStrike" kern="1200" cap="none" spc="0" normalizeH="0" baseline="0" noProof="0" dirty="0">
              <a:ln>
                <a:noFill/>
              </a:ln>
              <a:solidFill>
                <a:srgbClr val="0070C0"/>
              </a:solidFill>
              <a:effectLst/>
              <a:uLnTx/>
              <a:uFillTx/>
              <a:ea typeface="+mn-ea"/>
              <a:cs typeface="+mn-cs"/>
            </a:endParaRPr>
          </a:p>
        </p:txBody>
      </p:sp>
      <p:sp>
        <p:nvSpPr>
          <p:cNvPr id="40" name="Arrow: Chevron 39">
            <a:extLst>
              <a:ext uri="{FF2B5EF4-FFF2-40B4-BE49-F238E27FC236}">
                <a16:creationId xmlns:a16="http://schemas.microsoft.com/office/drawing/2014/main" id="{98859B9F-FB46-5306-7C97-857849C5976D}"/>
              </a:ext>
            </a:extLst>
          </p:cNvPr>
          <p:cNvSpPr/>
          <p:nvPr/>
        </p:nvSpPr>
        <p:spPr>
          <a:xfrm>
            <a:off x="685787" y="980477"/>
            <a:ext cx="772968" cy="299159"/>
          </a:xfrm>
          <a:prstGeom prst="chevron">
            <a:avLst>
              <a:gd name="adj" fmla="val 12931"/>
            </a:avLst>
          </a:prstGeom>
          <a:solidFill>
            <a:srgbClr val="FFFFFF"/>
          </a:solidFill>
          <a:ln w="8572" cap="rnd" cmpd="sng" algn="ctr">
            <a:solidFill>
              <a:srgbClr val="0070C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160" tIns="27081" rIns="54160" bIns="27081" numCol="1" spcCol="0" rtlCol="0" fromWordArt="0" anchor="ctr" anchorCtr="0" forceAA="0" compatLnSpc="1">
            <a:prstTxWarp prst="textNoShape">
              <a:avLst/>
            </a:prstTxWarp>
            <a:noAutofit/>
          </a:bodyPr>
          <a:lstStyle/>
          <a:p>
            <a:pPr algn="ctr"/>
            <a:r>
              <a:rPr lang="fr-FR" sz="1100" b="1" dirty="0">
                <a:solidFill>
                  <a:srgbClr val="002060"/>
                </a:solidFill>
              </a:rPr>
              <a:t>PPH</a:t>
            </a:r>
          </a:p>
          <a:p>
            <a:pPr algn="ctr"/>
            <a:r>
              <a:rPr lang="fr-FR" sz="1100" b="1" dirty="0">
                <a:solidFill>
                  <a:srgbClr val="002060"/>
                </a:solidFill>
              </a:rPr>
              <a:t>Summit</a:t>
            </a:r>
          </a:p>
        </p:txBody>
      </p:sp>
      <p:cxnSp>
        <p:nvCxnSpPr>
          <p:cNvPr id="102" name="Straight Connector 101">
            <a:extLst>
              <a:ext uri="{FF2B5EF4-FFF2-40B4-BE49-F238E27FC236}">
                <a16:creationId xmlns:a16="http://schemas.microsoft.com/office/drawing/2014/main" id="{C7CB1139-2B0A-F637-FADA-08F2A7625CC4}"/>
              </a:ext>
            </a:extLst>
          </p:cNvPr>
          <p:cNvCxnSpPr/>
          <p:nvPr/>
        </p:nvCxnSpPr>
        <p:spPr>
          <a:xfrm>
            <a:off x="457080" y="6226424"/>
            <a:ext cx="11449170" cy="0"/>
          </a:xfrm>
          <a:prstGeom prst="line">
            <a:avLst/>
          </a:prstGeom>
          <a:ln w="8572" cap="rnd">
            <a:solidFill>
              <a:srgbClr val="9A9A9A"/>
            </a:solidFill>
            <a:prstDash val="lgDash"/>
            <a:round/>
          </a:ln>
        </p:spPr>
        <p:style>
          <a:lnRef idx="1">
            <a:schemeClr val="accent1"/>
          </a:lnRef>
          <a:fillRef idx="0">
            <a:schemeClr val="accent1"/>
          </a:fillRef>
          <a:effectRef idx="0">
            <a:schemeClr val="accent1"/>
          </a:effectRef>
          <a:fontRef idx="minor">
            <a:schemeClr val="tx1"/>
          </a:fontRef>
        </p:style>
      </p:cxnSp>
      <p:sp>
        <p:nvSpPr>
          <p:cNvPr id="3" name="Isosceles Triangle 75">
            <a:extLst>
              <a:ext uri="{FF2B5EF4-FFF2-40B4-BE49-F238E27FC236}">
                <a16:creationId xmlns:a16="http://schemas.microsoft.com/office/drawing/2014/main" id="{ED841635-CF52-8FF3-7C36-CBC143F8BFB0}"/>
              </a:ext>
            </a:extLst>
          </p:cNvPr>
          <p:cNvSpPr>
            <a:spLocks/>
          </p:cNvSpPr>
          <p:nvPr/>
        </p:nvSpPr>
        <p:spPr>
          <a:xfrm flipV="1">
            <a:off x="4029477" y="2603259"/>
            <a:ext cx="182257" cy="140352"/>
          </a:xfrm>
          <a:prstGeom prst="triangle">
            <a:avLst/>
          </a:prstGeom>
          <a:solidFill>
            <a:srgbClr val="E71C57"/>
          </a:solidFill>
          <a:ln w="9525" cap="rnd" cmpd="sng" algn="ctr">
            <a:solidFill>
              <a:srgbClr val="E71C5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 name="ee4pContent1">
            <a:extLst>
              <a:ext uri="{FF2B5EF4-FFF2-40B4-BE49-F238E27FC236}">
                <a16:creationId xmlns:a16="http://schemas.microsoft.com/office/drawing/2014/main" id="{AF2F53D4-6E25-E43E-8808-CB1770FEC12B}"/>
              </a:ext>
            </a:extLst>
          </p:cNvPr>
          <p:cNvSpPr txBox="1"/>
          <p:nvPr/>
        </p:nvSpPr>
        <p:spPr>
          <a:xfrm>
            <a:off x="3308793" y="2761844"/>
            <a:ext cx="1623626"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kern="1200" dirty="0">
                <a:solidFill>
                  <a:srgbClr val="262626"/>
                </a:solidFill>
                <a:effectLst/>
              </a:rPr>
              <a:t>Publication of </a:t>
            </a:r>
            <a:r>
              <a:rPr lang="en-US" sz="1100" b="1" kern="1200" dirty="0">
                <a:solidFill>
                  <a:srgbClr val="002060"/>
                </a:solidFill>
                <a:effectLst/>
              </a:rPr>
              <a:t>WHO recommendations</a:t>
            </a:r>
            <a:r>
              <a:rPr lang="en-US" sz="1100" kern="1200" dirty="0">
                <a:solidFill>
                  <a:srgbClr val="262626"/>
                </a:solidFill>
                <a:effectLst/>
              </a:rPr>
              <a:t> actioning new, impactful evidence</a:t>
            </a:r>
            <a:endParaRPr lang="en-US" sz="1100" dirty="0">
              <a:effectLst/>
              <a:ea typeface="Calibri" panose="020F0502020204030204" pitchFamily="34" charset="0"/>
              <a:cs typeface="Calibri" panose="020F0502020204030204" pitchFamily="34" charset="0"/>
            </a:endParaRPr>
          </a:p>
        </p:txBody>
      </p:sp>
      <p:grpSp>
        <p:nvGrpSpPr>
          <p:cNvPr id="74" name="Group 73">
            <a:extLst>
              <a:ext uri="{FF2B5EF4-FFF2-40B4-BE49-F238E27FC236}">
                <a16:creationId xmlns:a16="http://schemas.microsoft.com/office/drawing/2014/main" id="{0EA3003D-523F-401E-8C20-A7691F51EAC6}"/>
              </a:ext>
            </a:extLst>
          </p:cNvPr>
          <p:cNvGrpSpPr/>
          <p:nvPr/>
        </p:nvGrpSpPr>
        <p:grpSpPr>
          <a:xfrm>
            <a:off x="457078" y="6497026"/>
            <a:ext cx="2775803" cy="169277"/>
            <a:chOff x="457277" y="5846680"/>
            <a:chExt cx="2775803" cy="169277"/>
          </a:xfrm>
        </p:grpSpPr>
        <p:sp>
          <p:nvSpPr>
            <p:cNvPr id="94" name="Isosceles Triangle 93">
              <a:extLst>
                <a:ext uri="{FF2B5EF4-FFF2-40B4-BE49-F238E27FC236}">
                  <a16:creationId xmlns:a16="http://schemas.microsoft.com/office/drawing/2014/main" id="{EA5F4053-2B51-42C8-B9F7-D8280841DBE6}"/>
                </a:ext>
              </a:extLst>
            </p:cNvPr>
            <p:cNvSpPr>
              <a:spLocks/>
            </p:cNvSpPr>
            <p:nvPr/>
          </p:nvSpPr>
          <p:spPr>
            <a:xfrm flipV="1">
              <a:off x="457277" y="5853892"/>
              <a:ext cx="202490" cy="154853"/>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p>
          </p:txBody>
        </p:sp>
        <p:sp>
          <p:nvSpPr>
            <p:cNvPr id="95" name="ee4pContent1">
              <a:extLst>
                <a:ext uri="{FF2B5EF4-FFF2-40B4-BE49-F238E27FC236}">
                  <a16:creationId xmlns:a16="http://schemas.microsoft.com/office/drawing/2014/main" id="{2B1BBCE6-993E-4A2B-A744-8E7371BDDA23}"/>
                </a:ext>
              </a:extLst>
            </p:cNvPr>
            <p:cNvSpPr txBox="1"/>
            <p:nvPr/>
          </p:nvSpPr>
          <p:spPr>
            <a:xfrm>
              <a:off x="713107" y="5846680"/>
              <a:ext cx="2519973" cy="1692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r>
                <a:rPr lang="en-US" sz="1100" kern="1200" dirty="0">
                  <a:solidFill>
                    <a:srgbClr val="262626"/>
                  </a:solidFill>
                  <a:effectLst/>
                  <a:ea typeface="Calibri" panose="020F0502020204030204" pitchFamily="34" charset="0"/>
                  <a:cs typeface="Mangal" panose="02040503050203030202" pitchFamily="18" charset="0"/>
                </a:rPr>
                <a:t>Milestones non contingent on new funding </a:t>
              </a:r>
              <a:endParaRPr lang="en-US" sz="1100" dirty="0">
                <a:effectLst/>
                <a:ea typeface="Calibri" panose="020F0502020204030204" pitchFamily="34" charset="0"/>
                <a:cs typeface="Calibri" panose="020F0502020204030204" pitchFamily="34" charset="0"/>
              </a:endParaRPr>
            </a:p>
          </p:txBody>
        </p:sp>
      </p:grpSp>
      <p:grpSp>
        <p:nvGrpSpPr>
          <p:cNvPr id="76" name="Group 75">
            <a:extLst>
              <a:ext uri="{FF2B5EF4-FFF2-40B4-BE49-F238E27FC236}">
                <a16:creationId xmlns:a16="http://schemas.microsoft.com/office/drawing/2014/main" id="{24628872-717F-4F87-8072-840180CFFB57}"/>
              </a:ext>
            </a:extLst>
          </p:cNvPr>
          <p:cNvGrpSpPr/>
          <p:nvPr/>
        </p:nvGrpSpPr>
        <p:grpSpPr>
          <a:xfrm>
            <a:off x="3493262" y="6497026"/>
            <a:ext cx="2170256" cy="169277"/>
            <a:chOff x="913351" y="6281031"/>
            <a:chExt cx="2170256" cy="169277"/>
          </a:xfrm>
        </p:grpSpPr>
        <p:sp>
          <p:nvSpPr>
            <p:cNvPr id="92" name="Isosceles Triangle 91">
              <a:extLst>
                <a:ext uri="{FF2B5EF4-FFF2-40B4-BE49-F238E27FC236}">
                  <a16:creationId xmlns:a16="http://schemas.microsoft.com/office/drawing/2014/main" id="{D86C5BA4-1DB3-4A23-9B6D-22FEE03E2D58}"/>
                </a:ext>
              </a:extLst>
            </p:cNvPr>
            <p:cNvSpPr>
              <a:spLocks/>
            </p:cNvSpPr>
            <p:nvPr/>
          </p:nvSpPr>
          <p:spPr>
            <a:xfrm flipV="1">
              <a:off x="913351" y="6288243"/>
              <a:ext cx="202490" cy="154853"/>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p>
          </p:txBody>
        </p:sp>
        <p:sp>
          <p:nvSpPr>
            <p:cNvPr id="93" name="ee4pContent1">
              <a:extLst>
                <a:ext uri="{FF2B5EF4-FFF2-40B4-BE49-F238E27FC236}">
                  <a16:creationId xmlns:a16="http://schemas.microsoft.com/office/drawing/2014/main" id="{0D20737E-1FA9-4E3E-94C9-C86DD2FAF533}"/>
                </a:ext>
              </a:extLst>
            </p:cNvPr>
            <p:cNvSpPr txBox="1"/>
            <p:nvPr/>
          </p:nvSpPr>
          <p:spPr>
            <a:xfrm>
              <a:off x="1169181" y="6281031"/>
              <a:ext cx="1914426" cy="1692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kern="1200" dirty="0">
                  <a:solidFill>
                    <a:srgbClr val="262626"/>
                  </a:solidFill>
                  <a:effectLst/>
                  <a:ea typeface="Calibri" panose="020F0502020204030204" pitchFamily="34" charset="0"/>
                  <a:cs typeface="Mangal" panose="02040503050203030202" pitchFamily="18" charset="0"/>
                </a:rPr>
                <a:t>Milestones contingent on funding</a:t>
              </a:r>
              <a:endParaRPr lang="en-US" sz="1100" dirty="0">
                <a:effectLst/>
                <a:ea typeface="Calibri" panose="020F0502020204030204" pitchFamily="34" charset="0"/>
                <a:cs typeface="Calibri" panose="020F0502020204030204" pitchFamily="34" charset="0"/>
              </a:endParaRPr>
            </a:p>
          </p:txBody>
        </p:sp>
      </p:grpSp>
      <p:grpSp>
        <p:nvGrpSpPr>
          <p:cNvPr id="77" name="Group 76">
            <a:extLst>
              <a:ext uri="{FF2B5EF4-FFF2-40B4-BE49-F238E27FC236}">
                <a16:creationId xmlns:a16="http://schemas.microsoft.com/office/drawing/2014/main" id="{0A7176CC-9B42-4594-97B3-5C82916E126B}"/>
              </a:ext>
            </a:extLst>
          </p:cNvPr>
          <p:cNvGrpSpPr/>
          <p:nvPr/>
        </p:nvGrpSpPr>
        <p:grpSpPr>
          <a:xfrm>
            <a:off x="5923899" y="6491812"/>
            <a:ext cx="1325870" cy="179705"/>
            <a:chOff x="4080944" y="6403416"/>
            <a:chExt cx="1325870" cy="179705"/>
          </a:xfrm>
        </p:grpSpPr>
        <p:sp>
          <p:nvSpPr>
            <p:cNvPr id="90" name="ee4pContent1">
              <a:extLst>
                <a:ext uri="{FF2B5EF4-FFF2-40B4-BE49-F238E27FC236}">
                  <a16:creationId xmlns:a16="http://schemas.microsoft.com/office/drawing/2014/main" id="{C5DFBE9D-68C2-4B7A-9B54-92ED2DDC032C}"/>
                </a:ext>
              </a:extLst>
            </p:cNvPr>
            <p:cNvSpPr txBox="1"/>
            <p:nvPr/>
          </p:nvSpPr>
          <p:spPr>
            <a:xfrm>
              <a:off x="4225718" y="6403416"/>
              <a:ext cx="1181096" cy="17970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fontAlgn="base"/>
              <a:r>
                <a:rPr lang="en-US" sz="1100" kern="1200" dirty="0">
                  <a:solidFill>
                    <a:srgbClr val="262626"/>
                  </a:solidFill>
                  <a:effectLst/>
                  <a:ea typeface="Calibri" panose="020F0502020204030204" pitchFamily="34" charset="0"/>
                  <a:cs typeface="Mangal" panose="02040503050203030202" pitchFamily="18" charset="0"/>
                </a:rPr>
                <a:t>Interdependencies</a:t>
              </a:r>
              <a:endParaRPr lang="en-US" sz="1100" dirty="0">
                <a:effectLst/>
                <a:ea typeface="Calibri" panose="020F0502020204030204" pitchFamily="34" charset="0"/>
                <a:cs typeface="Calibri" panose="020F0502020204030204" pitchFamily="34" charset="0"/>
              </a:endParaRPr>
            </a:p>
          </p:txBody>
        </p:sp>
        <p:cxnSp>
          <p:nvCxnSpPr>
            <p:cNvPr id="91" name="Connector: Curved 90">
              <a:extLst>
                <a:ext uri="{FF2B5EF4-FFF2-40B4-BE49-F238E27FC236}">
                  <a16:creationId xmlns:a16="http://schemas.microsoft.com/office/drawing/2014/main" id="{33AA0476-5935-4C62-AD99-07DF361F3E37}"/>
                </a:ext>
              </a:extLst>
            </p:cNvPr>
            <p:cNvCxnSpPr>
              <a:cxnSpLocks/>
            </p:cNvCxnSpPr>
            <p:nvPr/>
          </p:nvCxnSpPr>
          <p:spPr>
            <a:xfrm rot="16200000" flipH="1">
              <a:off x="4033253" y="6470412"/>
              <a:ext cx="141097" cy="45715"/>
            </a:xfrm>
            <a:prstGeom prst="curvedConnector4">
              <a:avLst>
                <a:gd name="adj1" fmla="val -18601"/>
                <a:gd name="adj2" fmla="val 176689"/>
              </a:avLst>
            </a:prstGeom>
            <a:noFill/>
            <a:ln w="9525" cap="rnd" cmpd="sng" algn="ctr">
              <a:solidFill>
                <a:srgbClr val="006037"/>
              </a:solidFill>
              <a:prstDash val="sysDash"/>
              <a:round/>
              <a:headEnd type="none" w="med" len="med"/>
              <a:tailEnd type="triangle" w="med" len="med"/>
            </a:ln>
            <a:effectLst/>
          </p:spPr>
        </p:cxnSp>
      </p:grpSp>
      <p:cxnSp>
        <p:nvCxnSpPr>
          <p:cNvPr id="13" name="Connector: Curved 12">
            <a:extLst>
              <a:ext uri="{FF2B5EF4-FFF2-40B4-BE49-F238E27FC236}">
                <a16:creationId xmlns:a16="http://schemas.microsoft.com/office/drawing/2014/main" id="{BED3098F-6C7C-F917-C2F0-28206F0E3ABC}"/>
              </a:ext>
            </a:extLst>
          </p:cNvPr>
          <p:cNvCxnSpPr>
            <a:cxnSpLocks/>
          </p:cNvCxnSpPr>
          <p:nvPr/>
        </p:nvCxnSpPr>
        <p:spPr>
          <a:xfrm rot="16200000" flipH="1">
            <a:off x="5383973" y="2802860"/>
            <a:ext cx="1031042" cy="604461"/>
          </a:xfrm>
          <a:prstGeom prst="curvedConnector4">
            <a:avLst>
              <a:gd name="adj1" fmla="val -9709"/>
              <a:gd name="adj2" fmla="val 227751"/>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Text Box 1593">
            <a:extLst>
              <a:ext uri="{FF2B5EF4-FFF2-40B4-BE49-F238E27FC236}">
                <a16:creationId xmlns:a16="http://schemas.microsoft.com/office/drawing/2014/main" id="{95B9BFA2-6D5A-DC5A-7CA4-BC6E100F9C56}"/>
              </a:ext>
            </a:extLst>
          </p:cNvPr>
          <p:cNvSpPr txBox="1"/>
          <p:nvPr/>
        </p:nvSpPr>
        <p:spPr>
          <a:xfrm>
            <a:off x="4178546" y="5410108"/>
            <a:ext cx="6000968" cy="15234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wrap="square" lIns="0" tIns="0" rIns="0" bIns="0" anchor="ctr">
            <a:spAutoFit/>
          </a:bodyPr>
          <a:lstStyle/>
          <a:p>
            <a:pPr>
              <a:lnSpc>
                <a:spcPct val="90000"/>
              </a:lnSpc>
            </a:pPr>
            <a:r>
              <a:rPr lang="en-US" sz="1100" b="1" dirty="0">
                <a:solidFill>
                  <a:srgbClr val="002060"/>
                </a:solidFill>
              </a:rPr>
              <a:t>Advocacy efforts</a:t>
            </a:r>
            <a:r>
              <a:rPr lang="en-US" sz="1100" dirty="0">
                <a:solidFill>
                  <a:srgbClr val="262626"/>
                </a:solidFill>
              </a:rPr>
              <a:t> to raise awareness and advocate for women to be at the centre of the political agenda</a:t>
            </a:r>
            <a:endParaRPr lang="en-US" sz="1100" dirty="0">
              <a:effectLst/>
              <a:ea typeface="Calibri" panose="020F0502020204030204" pitchFamily="34" charset="0"/>
              <a:cs typeface="Calibri" panose="020F0502020204030204" pitchFamily="34" charset="0"/>
            </a:endParaRPr>
          </a:p>
        </p:txBody>
      </p:sp>
      <p:cxnSp>
        <p:nvCxnSpPr>
          <p:cNvPr id="49" name="Straight Connector 48">
            <a:extLst>
              <a:ext uri="{FF2B5EF4-FFF2-40B4-BE49-F238E27FC236}">
                <a16:creationId xmlns:a16="http://schemas.microsoft.com/office/drawing/2014/main" id="{60A0AF74-3F41-D2C5-09A3-DC5E3B1B0F7C}"/>
              </a:ext>
            </a:extLst>
          </p:cNvPr>
          <p:cNvCxnSpPr>
            <a:cxnSpLocks/>
          </p:cNvCxnSpPr>
          <p:nvPr/>
        </p:nvCxnSpPr>
        <p:spPr>
          <a:xfrm flipH="1" flipV="1">
            <a:off x="3844477" y="5324835"/>
            <a:ext cx="6405086" cy="21218"/>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62" name="Isosceles Triangle 133">
            <a:extLst>
              <a:ext uri="{FF2B5EF4-FFF2-40B4-BE49-F238E27FC236}">
                <a16:creationId xmlns:a16="http://schemas.microsoft.com/office/drawing/2014/main" id="{68408842-F5AC-9172-8775-A338EF3F3DBF}"/>
              </a:ext>
            </a:extLst>
          </p:cNvPr>
          <p:cNvSpPr>
            <a:spLocks/>
          </p:cNvSpPr>
          <p:nvPr/>
        </p:nvSpPr>
        <p:spPr>
          <a:xfrm flipV="1">
            <a:off x="5653258" y="4568999"/>
            <a:ext cx="182257" cy="140352"/>
          </a:xfrm>
          <a:prstGeom prst="triangle">
            <a:avLst/>
          </a:prstGeom>
          <a:solidFill>
            <a:srgbClr val="FFEBEB"/>
          </a:solidFill>
          <a:ln w="9525" cap="rnd" cmpd="sng" algn="ctr">
            <a:solidFill>
              <a:srgbClr val="F44A4A"/>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3" name="ee4pContent1">
            <a:extLst>
              <a:ext uri="{FF2B5EF4-FFF2-40B4-BE49-F238E27FC236}">
                <a16:creationId xmlns:a16="http://schemas.microsoft.com/office/drawing/2014/main" id="{42B1C47C-9685-4A06-000D-E4999D5F0576}"/>
              </a:ext>
            </a:extLst>
          </p:cNvPr>
          <p:cNvSpPr txBox="1"/>
          <p:nvPr/>
        </p:nvSpPr>
        <p:spPr>
          <a:xfrm>
            <a:off x="5041616" y="4744155"/>
            <a:ext cx="1377912" cy="25369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kern="1200" dirty="0">
                <a:solidFill>
                  <a:srgbClr val="262626"/>
                </a:solidFill>
                <a:effectLst/>
                <a:ea typeface="Calibri" panose="020F0502020204030204" pitchFamily="34" charset="0"/>
                <a:cs typeface="Mangal" panose="02040503050203030202" pitchFamily="18" charset="0"/>
              </a:rPr>
              <a:t>Launch common</a:t>
            </a:r>
            <a:endParaRPr lang="en-US" sz="1100" dirty="0">
              <a:effectLst/>
              <a:ea typeface="Calibri" panose="020F0502020204030204" pitchFamily="34" charset="0"/>
              <a:cs typeface="Calibri" panose="020F0502020204030204" pitchFamily="34" charset="0"/>
            </a:endParaRPr>
          </a:p>
          <a:p>
            <a:pPr algn="ctr"/>
            <a:r>
              <a:rPr lang="en-US" sz="1100" b="1" kern="1200" dirty="0">
                <a:solidFill>
                  <a:srgbClr val="002060"/>
                </a:solidFill>
                <a:effectLst/>
              </a:rPr>
              <a:t>measurement platform</a:t>
            </a:r>
            <a:endParaRPr lang="en-US" sz="1100" dirty="0">
              <a:effectLst/>
              <a:ea typeface="Calibri" panose="020F0502020204030204" pitchFamily="34" charset="0"/>
              <a:cs typeface="Calibri" panose="020F0502020204030204" pitchFamily="34" charset="0"/>
            </a:endParaRPr>
          </a:p>
        </p:txBody>
      </p:sp>
      <p:sp>
        <p:nvSpPr>
          <p:cNvPr id="64" name="Isosceles Triangle 133">
            <a:extLst>
              <a:ext uri="{FF2B5EF4-FFF2-40B4-BE49-F238E27FC236}">
                <a16:creationId xmlns:a16="http://schemas.microsoft.com/office/drawing/2014/main" id="{4E1FB09F-CE00-F7DB-C647-0B07F7C20E4D}"/>
              </a:ext>
            </a:extLst>
          </p:cNvPr>
          <p:cNvSpPr>
            <a:spLocks/>
          </p:cNvSpPr>
          <p:nvPr/>
        </p:nvSpPr>
        <p:spPr>
          <a:xfrm flipV="1">
            <a:off x="3720540" y="4568996"/>
            <a:ext cx="182257" cy="140352"/>
          </a:xfrm>
          <a:prstGeom prst="triangle">
            <a:avLst/>
          </a:prstGeom>
          <a:solidFill>
            <a:srgbClr val="FF0000"/>
          </a:solidFill>
          <a:ln w="9525" cap="rnd" cmpd="sng" algn="ctr">
            <a:solidFill>
              <a:srgbClr val="FF0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2646" tIns="71323" rIns="142646" bIns="71323" numCol="1" spcCol="0" rtlCol="0" fromWordArt="0" anchor="ctr" anchorCtr="0" forceAA="0" compatLnSpc="1">
            <a:prstTxWarp prst="textNoShape">
              <a:avLst/>
            </a:prstTxWarp>
            <a:noAutofit/>
          </a:bodyPr>
          <a:lstStyle/>
          <a:p>
            <a:endParaRPr lang="en-US" dirty="0">
              <a:sym typeface="Calibri Light" panose="020F0302020204030204" pitchFamily="34" charset="0"/>
            </a:endParaRPr>
          </a:p>
        </p:txBody>
      </p:sp>
      <p:sp>
        <p:nvSpPr>
          <p:cNvPr id="66" name="ee4pContent1">
            <a:extLst>
              <a:ext uri="{FF2B5EF4-FFF2-40B4-BE49-F238E27FC236}">
                <a16:creationId xmlns:a16="http://schemas.microsoft.com/office/drawing/2014/main" id="{79368920-8BED-0443-386D-48F89D180150}"/>
              </a:ext>
            </a:extLst>
          </p:cNvPr>
          <p:cNvSpPr txBox="1"/>
          <p:nvPr/>
        </p:nvSpPr>
        <p:spPr>
          <a:xfrm>
            <a:off x="3282762" y="4764474"/>
            <a:ext cx="1057813" cy="36563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buNone/>
              <a:defRPr/>
            </a:pPr>
            <a:r>
              <a:rPr lang="en-US" sz="1100" dirty="0">
                <a:solidFill>
                  <a:srgbClr val="262626"/>
                </a:solidFill>
                <a:cs typeface="Mangal" panose="02040503050203030202" pitchFamily="18" charset="0"/>
              </a:rPr>
              <a:t>Launch </a:t>
            </a:r>
            <a:r>
              <a:rPr lang="en-US" sz="1100" b="1" dirty="0">
                <a:solidFill>
                  <a:srgbClr val="2E3558"/>
                </a:solidFill>
                <a:cs typeface="Mangal" panose="02040503050203030202" pitchFamily="18" charset="0"/>
              </a:rPr>
              <a:t>PPH Framework</a:t>
            </a:r>
            <a:endParaRPr lang="en-US" sz="1100" b="1" dirty="0">
              <a:solidFill>
                <a:srgbClr val="2E3558"/>
              </a:solidFill>
            </a:endParaRPr>
          </a:p>
        </p:txBody>
      </p:sp>
      <p:cxnSp>
        <p:nvCxnSpPr>
          <p:cNvPr id="67" name="Connector: Curved 66">
            <a:extLst>
              <a:ext uri="{FF2B5EF4-FFF2-40B4-BE49-F238E27FC236}">
                <a16:creationId xmlns:a16="http://schemas.microsoft.com/office/drawing/2014/main" id="{04B27383-CDBC-BAC3-CB20-1F15CE876286}"/>
              </a:ext>
            </a:extLst>
          </p:cNvPr>
          <p:cNvCxnSpPr>
            <a:cxnSpLocks/>
          </p:cNvCxnSpPr>
          <p:nvPr/>
        </p:nvCxnSpPr>
        <p:spPr>
          <a:xfrm rot="16200000" flipH="1">
            <a:off x="3667800" y="4774497"/>
            <a:ext cx="837795" cy="330200"/>
          </a:xfrm>
          <a:prstGeom prst="curvedConnector3">
            <a:avLst>
              <a:gd name="adj1" fmla="val -4572"/>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C076D7B-C103-3DE9-361D-F7D4BD4B964F}"/>
              </a:ext>
            </a:extLst>
          </p:cNvPr>
          <p:cNvCxnSpPr>
            <a:cxnSpLocks/>
          </p:cNvCxnSpPr>
          <p:nvPr/>
        </p:nvCxnSpPr>
        <p:spPr>
          <a:xfrm flipH="1">
            <a:off x="5645974" y="2641145"/>
            <a:ext cx="4614560" cy="20106"/>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42" name="Connector: Curved 41">
            <a:extLst>
              <a:ext uri="{FF2B5EF4-FFF2-40B4-BE49-F238E27FC236}">
                <a16:creationId xmlns:a16="http://schemas.microsoft.com/office/drawing/2014/main" id="{1FB1A4B6-EB2A-1CB0-43AC-E1B9F6D257AC}"/>
              </a:ext>
            </a:extLst>
          </p:cNvPr>
          <p:cNvCxnSpPr>
            <a:cxnSpLocks/>
          </p:cNvCxnSpPr>
          <p:nvPr/>
        </p:nvCxnSpPr>
        <p:spPr>
          <a:xfrm rot="16200000" flipH="1">
            <a:off x="4012791" y="2824301"/>
            <a:ext cx="1031042" cy="604461"/>
          </a:xfrm>
          <a:prstGeom prst="curvedConnector4">
            <a:avLst>
              <a:gd name="adj1" fmla="val -9709"/>
              <a:gd name="adj2" fmla="val 152114"/>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Connector: Curved 60">
            <a:extLst>
              <a:ext uri="{FF2B5EF4-FFF2-40B4-BE49-F238E27FC236}">
                <a16:creationId xmlns:a16="http://schemas.microsoft.com/office/drawing/2014/main" id="{87EF2271-87B3-91AD-CED9-D7B33236DF9A}"/>
              </a:ext>
            </a:extLst>
          </p:cNvPr>
          <p:cNvCxnSpPr>
            <a:stCxn id="3" idx="4"/>
            <a:endCxn id="86" idx="2"/>
          </p:cNvCxnSpPr>
          <p:nvPr/>
        </p:nvCxnSpPr>
        <p:spPr>
          <a:xfrm rot="5400000" flipH="1" flipV="1">
            <a:off x="4803900" y="2011093"/>
            <a:ext cx="12700" cy="1184333"/>
          </a:xfrm>
          <a:prstGeom prst="curvedConnector3">
            <a:avLst>
              <a:gd name="adj1" fmla="val 1800000"/>
            </a:avLst>
          </a:prstGeom>
          <a:ln w="9525" cap="rnd">
            <a:solidFill>
              <a:srgbClr val="006037"/>
            </a:solidFill>
            <a:prstDash val="sysDash"/>
            <a:round/>
            <a:tailEnd type="triangle"/>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A3B02C8B-26B5-791C-3658-F8E727242009}"/>
              </a:ext>
            </a:extLst>
          </p:cNvPr>
          <p:cNvSpPr/>
          <p:nvPr/>
        </p:nvSpPr>
        <p:spPr>
          <a:xfrm>
            <a:off x="457080" y="1482251"/>
            <a:ext cx="925939" cy="935514"/>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Research</a:t>
            </a:r>
          </a:p>
        </p:txBody>
      </p:sp>
      <p:sp>
        <p:nvSpPr>
          <p:cNvPr id="121" name="Rectangle 120">
            <a:extLst>
              <a:ext uri="{FF2B5EF4-FFF2-40B4-BE49-F238E27FC236}">
                <a16:creationId xmlns:a16="http://schemas.microsoft.com/office/drawing/2014/main" id="{9BC441DA-11FD-721A-E613-774A6162F731}"/>
              </a:ext>
            </a:extLst>
          </p:cNvPr>
          <p:cNvSpPr/>
          <p:nvPr/>
        </p:nvSpPr>
        <p:spPr>
          <a:xfrm>
            <a:off x="457080" y="2486369"/>
            <a:ext cx="925939" cy="935514"/>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Norms &amp;</a:t>
            </a:r>
          </a:p>
          <a:p>
            <a:pPr algn="ctr"/>
            <a:r>
              <a:rPr lang="en-US" sz="990" dirty="0">
                <a:solidFill>
                  <a:srgbClr val="262626"/>
                </a:solidFill>
              </a:rPr>
              <a:t>Standards</a:t>
            </a:r>
          </a:p>
        </p:txBody>
      </p:sp>
      <p:sp>
        <p:nvSpPr>
          <p:cNvPr id="122" name="Rectangle 121">
            <a:extLst>
              <a:ext uri="{FF2B5EF4-FFF2-40B4-BE49-F238E27FC236}">
                <a16:creationId xmlns:a16="http://schemas.microsoft.com/office/drawing/2014/main" id="{51A36F71-B7B8-3B39-A1E6-9ABF4DBCB4CD}"/>
              </a:ext>
            </a:extLst>
          </p:cNvPr>
          <p:cNvSpPr/>
          <p:nvPr/>
        </p:nvSpPr>
        <p:spPr>
          <a:xfrm>
            <a:off x="457080" y="3501268"/>
            <a:ext cx="925939" cy="1625768"/>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Implementation</a:t>
            </a:r>
          </a:p>
        </p:txBody>
      </p:sp>
      <p:sp>
        <p:nvSpPr>
          <p:cNvPr id="123" name="Rectangle 122">
            <a:extLst>
              <a:ext uri="{FF2B5EF4-FFF2-40B4-BE49-F238E27FC236}">
                <a16:creationId xmlns:a16="http://schemas.microsoft.com/office/drawing/2014/main" id="{7909F97B-278F-027F-6542-C00075657040}"/>
              </a:ext>
            </a:extLst>
          </p:cNvPr>
          <p:cNvSpPr/>
          <p:nvPr/>
        </p:nvSpPr>
        <p:spPr>
          <a:xfrm>
            <a:off x="457080" y="5232399"/>
            <a:ext cx="925939" cy="959717"/>
          </a:xfrm>
          <a:prstGeom prst="rect">
            <a:avLst/>
          </a:prstGeom>
          <a:noFill/>
          <a:ln w="8572" cap="rnd" cmpd="sng" algn="ctr">
            <a:solidFill>
              <a:srgbClr val="93CCDD"/>
            </a:solid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2296" tIns="41148" rIns="82296" bIns="41148" numCol="1" spcCol="0" rtlCol="0" fromWordArt="0" anchor="ctr" anchorCtr="0" forceAA="0" compatLnSpc="1">
            <a:prstTxWarp prst="textNoShape">
              <a:avLst/>
            </a:prstTxWarp>
            <a:noAutofit/>
          </a:bodyPr>
          <a:lstStyle/>
          <a:p>
            <a:pPr algn="ctr"/>
            <a:r>
              <a:rPr lang="en-US" sz="990" dirty="0">
                <a:solidFill>
                  <a:srgbClr val="262626"/>
                </a:solidFill>
              </a:rPr>
              <a:t>Advocacy</a:t>
            </a:r>
          </a:p>
        </p:txBody>
      </p:sp>
      <p:grpSp>
        <p:nvGrpSpPr>
          <p:cNvPr id="124" name="Group 123">
            <a:extLst>
              <a:ext uri="{FF2B5EF4-FFF2-40B4-BE49-F238E27FC236}">
                <a16:creationId xmlns:a16="http://schemas.microsoft.com/office/drawing/2014/main" id="{286B09D7-19BA-01B1-F0B1-A094A4090BE7}"/>
              </a:ext>
            </a:extLst>
          </p:cNvPr>
          <p:cNvGrpSpPr/>
          <p:nvPr/>
        </p:nvGrpSpPr>
        <p:grpSpPr>
          <a:xfrm>
            <a:off x="1430441" y="1477755"/>
            <a:ext cx="1213507" cy="4665628"/>
            <a:chOff x="1430441" y="1907719"/>
            <a:chExt cx="1213507" cy="3882847"/>
          </a:xfrm>
        </p:grpSpPr>
        <p:grpSp>
          <p:nvGrpSpPr>
            <p:cNvPr id="125" name="Group 124">
              <a:extLst>
                <a:ext uri="{FF2B5EF4-FFF2-40B4-BE49-F238E27FC236}">
                  <a16:creationId xmlns:a16="http://schemas.microsoft.com/office/drawing/2014/main" id="{2E95C269-EC9E-6882-959D-4249851F9BD4}"/>
                </a:ext>
              </a:extLst>
            </p:cNvPr>
            <p:cNvGrpSpPr/>
            <p:nvPr/>
          </p:nvGrpSpPr>
          <p:grpSpPr>
            <a:xfrm>
              <a:off x="1757448" y="1907719"/>
              <a:ext cx="232206" cy="3882847"/>
              <a:chOff x="1757448" y="1907719"/>
              <a:chExt cx="232206" cy="3882847"/>
            </a:xfrm>
          </p:grpSpPr>
          <p:sp>
            <p:nvSpPr>
              <p:cNvPr id="127" name="Rectangle 126">
                <a:extLst>
                  <a:ext uri="{FF2B5EF4-FFF2-40B4-BE49-F238E27FC236}">
                    <a16:creationId xmlns:a16="http://schemas.microsoft.com/office/drawing/2014/main" id="{5C542C9E-D0B8-682D-C6D0-F53495F0E4D1}"/>
                  </a:ext>
                </a:extLst>
              </p:cNvPr>
              <p:cNvSpPr/>
              <p:nvPr/>
            </p:nvSpPr>
            <p:spPr>
              <a:xfrm>
                <a:off x="1757448" y="1907719"/>
                <a:ext cx="232206" cy="3882847"/>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128" name="Straight Connector 127">
                <a:extLst>
                  <a:ext uri="{FF2B5EF4-FFF2-40B4-BE49-F238E27FC236}">
                    <a16:creationId xmlns:a16="http://schemas.microsoft.com/office/drawing/2014/main" id="{B158C88D-B661-805B-3E34-E3864095494C}"/>
                  </a:ext>
                </a:extLst>
              </p:cNvPr>
              <p:cNvCxnSpPr>
                <a:cxnSpLocks/>
                <a:stCxn id="127" idx="2"/>
              </p:cNvCxnSpPr>
              <p:nvPr/>
            </p:nvCxnSpPr>
            <p:spPr>
              <a:xfrm flipH="1" flipV="1">
                <a:off x="1859662" y="1952250"/>
                <a:ext cx="13889" cy="3838316"/>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sp>
            <p:nvSpPr>
              <p:cNvPr id="129" name="Isosceles Triangle 128">
                <a:extLst>
                  <a:ext uri="{FF2B5EF4-FFF2-40B4-BE49-F238E27FC236}">
                    <a16:creationId xmlns:a16="http://schemas.microsoft.com/office/drawing/2014/main" id="{6FDA8B15-CDE2-1047-FF46-85CE9AC35EFE}"/>
                  </a:ext>
                </a:extLst>
              </p:cNvPr>
              <p:cNvSpPr>
                <a:spLocks/>
              </p:cNvSpPr>
              <p:nvPr/>
            </p:nvSpPr>
            <p:spPr>
              <a:xfrm flipV="1">
                <a:off x="1782422" y="3319937"/>
                <a:ext cx="182257" cy="140352"/>
              </a:xfrm>
              <a:prstGeom prst="triangle">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381" tIns="64191" rIns="128381" bIns="64191"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ea typeface="+mn-ea"/>
                  <a:cs typeface="Calibri Light" panose="020F0302020204030204" pitchFamily="34" charset="0"/>
                  <a:sym typeface="Calibri Light" panose="020F0302020204030204" pitchFamily="34" charset="0"/>
                </a:endParaRPr>
              </a:p>
            </p:txBody>
          </p:sp>
        </p:grpSp>
        <p:sp>
          <p:nvSpPr>
            <p:cNvPr id="126" name="ee4pContent1">
              <a:extLst>
                <a:ext uri="{FF2B5EF4-FFF2-40B4-BE49-F238E27FC236}">
                  <a16:creationId xmlns:a16="http://schemas.microsoft.com/office/drawing/2014/main" id="{26E76F91-F784-0536-89F8-FDDF0564A2E5}"/>
                </a:ext>
              </a:extLst>
            </p:cNvPr>
            <p:cNvSpPr txBox="1"/>
            <p:nvPr/>
          </p:nvSpPr>
          <p:spPr>
            <a:xfrm>
              <a:off x="1430441" y="3473783"/>
              <a:ext cx="1213507" cy="1015663"/>
            </a:xfrm>
            <a:prstGeom prst="rect">
              <a:avLst/>
            </a:prstGeom>
            <a:solidFill>
              <a:srgbClr val="FFFFFF"/>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r>
                <a:rPr lang="en-US" sz="1100" b="1" kern="1200" dirty="0">
                  <a:solidFill>
                    <a:srgbClr val="002060"/>
                  </a:solidFill>
                  <a:effectLst/>
                </a:rPr>
                <a:t>IMNHC</a:t>
              </a:r>
              <a:r>
                <a:rPr lang="en-US" sz="1100" kern="1200" dirty="0">
                  <a:solidFill>
                    <a:srgbClr val="262626"/>
                  </a:solidFill>
                  <a:effectLst/>
                </a:rPr>
                <a:t> – </a:t>
              </a:r>
              <a:r>
                <a:rPr lang="en-US" sz="1100" b="1" dirty="0">
                  <a:solidFill>
                    <a:srgbClr val="002060"/>
                  </a:solidFill>
                </a:rPr>
                <a:t>launch of the RoadMap</a:t>
              </a:r>
              <a:r>
                <a:rPr lang="en-US" sz="1100" kern="1200" dirty="0">
                  <a:solidFill>
                    <a:srgbClr val="262626"/>
                  </a:solidFill>
                  <a:effectLst/>
                </a:rPr>
                <a:t>, including research, normative, implementation, and advocacy agendas</a:t>
              </a:r>
              <a:endParaRPr lang="en-US" sz="1100" dirty="0">
                <a:effectLst/>
                <a:ea typeface="Calibri" panose="020F0502020204030204" pitchFamily="34" charset="0"/>
                <a:cs typeface="Calibri" panose="020F0502020204030204" pitchFamily="34" charset="0"/>
              </a:endParaRPr>
            </a:p>
          </p:txBody>
        </p:sp>
      </p:grpSp>
      <p:sp>
        <p:nvSpPr>
          <p:cNvPr id="130" name="Rectangle 129">
            <a:extLst>
              <a:ext uri="{FF2B5EF4-FFF2-40B4-BE49-F238E27FC236}">
                <a16:creationId xmlns:a16="http://schemas.microsoft.com/office/drawing/2014/main" id="{0A07D071-D5DE-DA34-A286-3D307C672288}"/>
              </a:ext>
            </a:extLst>
          </p:cNvPr>
          <p:cNvSpPr/>
          <p:nvPr/>
        </p:nvSpPr>
        <p:spPr>
          <a:xfrm>
            <a:off x="10365666" y="3489866"/>
            <a:ext cx="1540584" cy="1581934"/>
          </a:xfrm>
          <a:prstGeom prst="rect">
            <a:avLst/>
          </a:prstGeom>
          <a:noFill/>
          <a:ln w="8572" cap="rnd" cmpd="sng" algn="ctr">
            <a:noFill/>
            <a:prstDash val="solid"/>
            <a:round/>
            <a:headEnd type="none" w="med" len="med"/>
            <a:tailEnd type="none" w="med" len="med"/>
          </a:ln>
          <a:effectLst/>
          <a:extLst>
            <a:ext uri="{909E8E84-426E-40DD-AFC4-6F175D3DCCD1}">
              <a14:hiddenFill xmlns:a14="http://schemas.microsoft.com/office/drawing/2010/main">
                <a:solidFill>
                  <a:srgbClr val="002060"/>
                </a:solidFill>
              </a14:hiddenFill>
            </a:ext>
            <a:ext uri="{91240B29-F687-4F45-9708-019B960494DF}">
              <a14:hiddenLine xmlns:a14="http://schemas.microsoft.com/office/drawing/2010/main" w="8572" cap="rnd" cmpd="sng" algn="ctr">
                <a:solidFill>
                  <a:srgbClr val="93CCD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0" lvl="1" algn="ctr">
              <a:spcBef>
                <a:spcPts val="600"/>
              </a:spcBef>
              <a:buClr>
                <a:srgbClr val="002060"/>
              </a:buClr>
            </a:pPr>
            <a:r>
              <a:rPr lang="en-US" sz="1000" dirty="0">
                <a:solidFill>
                  <a:srgbClr val="262626"/>
                </a:solidFill>
              </a:rPr>
              <a:t>Priority implementation</a:t>
            </a:r>
            <a:br>
              <a:rPr lang="en-US" sz="1000" dirty="0">
                <a:solidFill>
                  <a:srgbClr val="262626"/>
                </a:solidFill>
              </a:rPr>
            </a:br>
            <a:r>
              <a:rPr lang="en-US" sz="1000" b="1" dirty="0">
                <a:solidFill>
                  <a:srgbClr val="0070C0"/>
                </a:solidFill>
              </a:rPr>
              <a:t>bottlenecks</a:t>
            </a:r>
            <a:r>
              <a:rPr lang="en-US" sz="1000" dirty="0">
                <a:solidFill>
                  <a:srgbClr val="262626"/>
                </a:solidFill>
              </a:rPr>
              <a:t> </a:t>
            </a:r>
            <a:r>
              <a:rPr lang="en-US" sz="1000" b="1" dirty="0">
                <a:solidFill>
                  <a:srgbClr val="0070C0"/>
                </a:solidFill>
              </a:rPr>
              <a:t>and</a:t>
            </a:r>
            <a:r>
              <a:rPr lang="en-US" sz="1000" dirty="0">
                <a:solidFill>
                  <a:srgbClr val="262626"/>
                </a:solidFill>
              </a:rPr>
              <a:t> </a:t>
            </a:r>
            <a:r>
              <a:rPr lang="en-US" sz="1000" b="1" dirty="0">
                <a:solidFill>
                  <a:srgbClr val="0070C0"/>
                </a:solidFill>
              </a:rPr>
              <a:t>hurdles</a:t>
            </a:r>
            <a:r>
              <a:rPr lang="en-US" sz="1000" dirty="0">
                <a:solidFill>
                  <a:srgbClr val="262626"/>
                </a:solidFill>
              </a:rPr>
              <a:t>, incl. context-specific ones, have been </a:t>
            </a:r>
            <a:r>
              <a:rPr lang="en-US" sz="1000" b="1" dirty="0">
                <a:solidFill>
                  <a:srgbClr val="0070C0"/>
                </a:solidFill>
              </a:rPr>
              <a:t>removed</a:t>
            </a:r>
          </a:p>
        </p:txBody>
      </p:sp>
      <p:sp>
        <p:nvSpPr>
          <p:cNvPr id="131" name="ee4pContent1">
            <a:extLst>
              <a:ext uri="{FF2B5EF4-FFF2-40B4-BE49-F238E27FC236}">
                <a16:creationId xmlns:a16="http://schemas.microsoft.com/office/drawing/2014/main" id="{F4831DC3-6DB1-4D91-6540-29D82E9D8487}"/>
              </a:ext>
            </a:extLst>
          </p:cNvPr>
          <p:cNvSpPr txBox="1"/>
          <p:nvPr/>
        </p:nvSpPr>
        <p:spPr>
          <a:xfrm>
            <a:off x="3915441" y="3640964"/>
            <a:ext cx="5852942" cy="20103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2E4DF9"/>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0000"/>
              </a:buClr>
              <a:buSzPct val="100000"/>
              <a:buFont typeface="Trebuchet MS" panose="020B0603020202020204" pitchFamily="34" charset="0"/>
              <a:buChar char="​"/>
              <a:defRPr sz="2000">
                <a:solidFill>
                  <a:srgbClr val="000000"/>
                </a:solidFill>
              </a:defRPr>
            </a:lvl1pPr>
            <a:lvl2pPr marL="324000" lvl="1" indent="-216000">
              <a:buClr>
                <a:srgbClr val="000000"/>
              </a:buClr>
              <a:buSzPct val="100000"/>
              <a:buFont typeface="Trebuchet MS" panose="020B0603020202020204" pitchFamily="34" charset="0"/>
              <a:buChar char="•"/>
              <a:defRPr sz="2000">
                <a:solidFill>
                  <a:srgbClr val="000000"/>
                </a:solidFill>
              </a:defRPr>
            </a:lvl2pPr>
            <a:lvl3pPr marL="648000" lvl="2" indent="-216000">
              <a:buClr>
                <a:srgbClr val="000000"/>
              </a:buClr>
              <a:buSzPct val="100000"/>
              <a:buFont typeface="Trebuchet MS" panose="020B0603020202020204" pitchFamily="34" charset="0"/>
              <a:buChar char="–"/>
              <a:defRPr sz="2000">
                <a:solidFill>
                  <a:srgbClr val="000000"/>
                </a:solidFill>
              </a:defRPr>
            </a:lvl3pPr>
            <a:lvl4pPr marL="0" lvl="3">
              <a:buClr>
                <a:srgbClr val="000000"/>
              </a:buClr>
              <a:buSzPct val="100000"/>
              <a:buFont typeface="Trebuchet MS" panose="020B0603020202020204" pitchFamily="34" charset="0"/>
              <a:buChar char="​"/>
              <a:defRPr sz="2400">
                <a:solidFill>
                  <a:srgbClr val="000000"/>
                </a:solidFill>
                <a:latin typeface="+mj-lt"/>
              </a:defRPr>
            </a:lvl4pPr>
            <a:lvl5pPr marL="0" lvl="4">
              <a:buClr>
                <a:srgbClr val="000000"/>
              </a:buClr>
              <a:buSzPct val="100000"/>
              <a:buFont typeface="Trebuchet MS" panose="020B0603020202020204" pitchFamily="34" charset="0"/>
              <a:buChar char="​"/>
              <a:defRPr sz="2400" b="1">
                <a:solidFill>
                  <a:srgbClr val="000000"/>
                </a:solidFill>
              </a:defRPr>
            </a:lvl5pPr>
            <a:lvl6pPr marL="324000" lvl="5" indent="-216000">
              <a:buClr>
                <a:srgbClr val="000000"/>
              </a:buClr>
              <a:buSzPct val="100000"/>
              <a:buFont typeface="Trebuchet MS" panose="020B0603020202020204" pitchFamily="34" charset="0"/>
              <a:buChar char="•"/>
              <a:defRPr sz="2400">
                <a:solidFill>
                  <a:srgbClr val="000000"/>
                </a:solidFill>
              </a:defRPr>
            </a:lvl6pPr>
            <a:lvl7pPr marL="0" lvl="6">
              <a:buClr>
                <a:srgbClr val="000000"/>
              </a:buClr>
              <a:buSzPct val="100000"/>
              <a:buFont typeface="Trebuchet MS" panose="020B0603020202020204" pitchFamily="34" charset="0"/>
              <a:buChar char="​"/>
              <a:defRPr sz="5400">
                <a:solidFill>
                  <a:srgbClr val="000000"/>
                </a:solidFill>
              </a:defRPr>
            </a:lvl7pPr>
            <a:lvl8pPr marL="0" lvl="7">
              <a:buClr>
                <a:srgbClr val="000000"/>
              </a:buClr>
              <a:buSzPct val="100000"/>
              <a:buFont typeface="Trebuchet MS" panose="020B0603020202020204" pitchFamily="34" charset="0"/>
              <a:buChar char="​"/>
              <a:defRPr sz="6600">
                <a:solidFill>
                  <a:srgbClr val="000000"/>
                </a:solidFill>
                <a:latin typeface="+mj-lt"/>
              </a:defRPr>
            </a:lvl8pPr>
            <a:lvl9pPr marL="0" lvl="8">
              <a:buClr>
                <a:srgbClr val="000000"/>
              </a:buClr>
              <a:buSzPct val="100000"/>
              <a:buFont typeface="Trebuchet MS" panose="020B0603020202020204" pitchFamily="34" charset="0"/>
              <a:buChar char="​"/>
              <a:defRPr sz="4400">
                <a:solidFill>
                  <a:srgbClr val="000000"/>
                </a:solidFill>
                <a:latin typeface="+mj-lt"/>
              </a:defRPr>
            </a:lvl9pPr>
          </a:lstStyle>
          <a:p>
            <a:pPr algn="ctr"/>
            <a:r>
              <a:rPr lang="en-US" sz="1100" dirty="0">
                <a:solidFill>
                  <a:srgbClr val="002060"/>
                </a:solidFill>
              </a:rPr>
              <a:t>PPH guideline </a:t>
            </a:r>
            <a:r>
              <a:rPr lang="en-US" sz="1100" b="1" dirty="0">
                <a:solidFill>
                  <a:srgbClr val="002060"/>
                </a:solidFill>
              </a:rPr>
              <a:t>adaptation and adoption</a:t>
            </a:r>
            <a:r>
              <a:rPr lang="en-US" sz="1100" kern="1200" dirty="0">
                <a:solidFill>
                  <a:srgbClr val="262626"/>
                </a:solidFill>
                <a:effectLst/>
              </a:rPr>
              <a:t> to support dissemination and implementation in-country</a:t>
            </a:r>
            <a:endParaRPr lang="en-US" sz="1100" dirty="0">
              <a:solidFill>
                <a:srgbClr val="262626"/>
              </a:solidFill>
            </a:endParaRPr>
          </a:p>
        </p:txBody>
      </p:sp>
      <p:sp>
        <p:nvSpPr>
          <p:cNvPr id="132" name="Text Box 1595">
            <a:extLst>
              <a:ext uri="{FF2B5EF4-FFF2-40B4-BE49-F238E27FC236}">
                <a16:creationId xmlns:a16="http://schemas.microsoft.com/office/drawing/2014/main" id="{07F63327-E832-57F5-5ACF-2383E1B39839}"/>
              </a:ext>
            </a:extLst>
          </p:cNvPr>
          <p:cNvSpPr txBox="1"/>
          <p:nvPr/>
        </p:nvSpPr>
        <p:spPr>
          <a:xfrm>
            <a:off x="2862286" y="4036119"/>
            <a:ext cx="7387277" cy="15234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wrap="square" lIns="0" tIns="0" rIns="0" bIns="0" anchor="ctr">
            <a:spAutoFit/>
          </a:bodyPr>
          <a:lstStyle/>
          <a:p>
            <a:pPr algn="ctr">
              <a:lnSpc>
                <a:spcPct val="90000"/>
              </a:lnSpc>
            </a:pPr>
            <a:r>
              <a:rPr lang="en-US" sz="1100" dirty="0">
                <a:solidFill>
                  <a:srgbClr val="262626"/>
                </a:solidFill>
              </a:rPr>
              <a:t>Support authorization of full scope of practice for </a:t>
            </a:r>
            <a:r>
              <a:rPr lang="en-US" sz="1100" b="1" dirty="0">
                <a:solidFill>
                  <a:srgbClr val="002060"/>
                </a:solidFill>
              </a:rPr>
              <a:t>midwifery and other cadres; capacity building, professional development</a:t>
            </a:r>
          </a:p>
        </p:txBody>
      </p:sp>
      <p:cxnSp>
        <p:nvCxnSpPr>
          <p:cNvPr id="133" name="Straight Connector 132">
            <a:extLst>
              <a:ext uri="{FF2B5EF4-FFF2-40B4-BE49-F238E27FC236}">
                <a16:creationId xmlns:a16="http://schemas.microsoft.com/office/drawing/2014/main" id="{323DD5AD-8804-3258-B204-7D574C4C3A09}"/>
              </a:ext>
            </a:extLst>
          </p:cNvPr>
          <p:cNvCxnSpPr>
            <a:cxnSpLocks/>
          </p:cNvCxnSpPr>
          <p:nvPr/>
        </p:nvCxnSpPr>
        <p:spPr>
          <a:xfrm flipH="1">
            <a:off x="2862286" y="3967271"/>
            <a:ext cx="7387277" cy="11989"/>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134" name="Straight Connector 133">
            <a:extLst>
              <a:ext uri="{FF2B5EF4-FFF2-40B4-BE49-F238E27FC236}">
                <a16:creationId xmlns:a16="http://schemas.microsoft.com/office/drawing/2014/main" id="{9C4465CF-4CF9-8475-2C90-E834353D3F4D}"/>
              </a:ext>
            </a:extLst>
          </p:cNvPr>
          <p:cNvCxnSpPr>
            <a:cxnSpLocks/>
          </p:cNvCxnSpPr>
          <p:nvPr/>
        </p:nvCxnSpPr>
        <p:spPr>
          <a:xfrm flipH="1">
            <a:off x="2862286" y="3605624"/>
            <a:ext cx="7387277" cy="22464"/>
          </a:xfrm>
          <a:prstGeom prst="line">
            <a:avLst/>
          </a:prstGeom>
          <a:solidFill>
            <a:srgbClr val="FFEBEB"/>
          </a:solidFill>
          <a:ln w="6350" cap="rnd" cmpd="sng" algn="ctr">
            <a:solidFill>
              <a:srgbClr val="F44A4A"/>
            </a:solidFill>
            <a:prstDash val="sysDot"/>
            <a:round/>
            <a:headEnd type="oval" w="med" len="med"/>
            <a:tailEnd type="oval" w="med" len="med"/>
          </a:ln>
          <a:effectLst/>
        </p:spPr>
        <p:style>
          <a:lnRef idx="2">
            <a:schemeClr val="accent1">
              <a:shade val="50000"/>
            </a:schemeClr>
          </a:lnRef>
          <a:fillRef idx="1">
            <a:schemeClr val="accent1"/>
          </a:fillRef>
          <a:effectRef idx="0">
            <a:schemeClr val="accent1"/>
          </a:effectRef>
          <a:fontRef idx="minor">
            <a:schemeClr val="lt1"/>
          </a:fontRef>
        </p:style>
      </p:cxnSp>
      <p:cxnSp>
        <p:nvCxnSpPr>
          <p:cNvPr id="137" name="Connector: Curved 136">
            <a:extLst>
              <a:ext uri="{FF2B5EF4-FFF2-40B4-BE49-F238E27FC236}">
                <a16:creationId xmlns:a16="http://schemas.microsoft.com/office/drawing/2014/main" id="{EFB7DC1A-0840-DBEC-3855-8564DAF56633}"/>
              </a:ext>
            </a:extLst>
          </p:cNvPr>
          <p:cNvCxnSpPr>
            <a:cxnSpLocks/>
          </p:cNvCxnSpPr>
          <p:nvPr/>
        </p:nvCxnSpPr>
        <p:spPr>
          <a:xfrm rot="16200000" flipH="1">
            <a:off x="5823258" y="4565108"/>
            <a:ext cx="774274" cy="745180"/>
          </a:xfrm>
          <a:prstGeom prst="curvedConnector3">
            <a:avLst>
              <a:gd name="adj1" fmla="val 14571"/>
            </a:avLst>
          </a:prstGeom>
          <a:ln w="9525" cap="rnd" cmpd="sng" algn="ctr">
            <a:solidFill>
              <a:srgbClr val="006037"/>
            </a:solidFill>
            <a:prstDash val="sysDash"/>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64BE232A-AA69-7158-8F32-6989A0C09438}"/>
              </a:ext>
            </a:extLst>
          </p:cNvPr>
          <p:cNvSpPr/>
          <p:nvPr/>
        </p:nvSpPr>
        <p:spPr>
          <a:xfrm>
            <a:off x="213360" y="1486533"/>
            <a:ext cx="152590" cy="4705584"/>
          </a:xfrm>
          <a:prstGeom prst="rect">
            <a:avLst/>
          </a:prstGeom>
          <a:solidFill>
            <a:srgbClr val="CAE5E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100" dirty="0">
                <a:solidFill>
                  <a:srgbClr val="0070C0"/>
                </a:solidFill>
              </a:rPr>
              <a:t>Strategic areas</a:t>
            </a:r>
          </a:p>
        </p:txBody>
      </p:sp>
    </p:spTree>
    <p:extLst>
      <p:ext uri="{BB962C8B-B14F-4D97-AF65-F5344CB8AC3E}">
        <p14:creationId xmlns:p14="http://schemas.microsoft.com/office/powerpoint/2010/main" val="2845656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Q5XbTe9R"/>
  <p:tag name="EE4P_STYLE_NAME" val="World Health Organization HEPR Grid 16: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QRhv.xShq9a8tapXqbQ6d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orld Health Organization HEPR Grid 16:9 - 18471">
  <a:themeElements>
    <a:clrScheme name="who">
      <a:dk1>
        <a:srgbClr val="262626"/>
      </a:dk1>
      <a:lt1>
        <a:sysClr val="window" lastClr="FFFFFF"/>
      </a:lt1>
      <a:dk2>
        <a:srgbClr val="002060"/>
      </a:dk2>
      <a:lt2>
        <a:srgbClr val="F2F2F2"/>
      </a:lt2>
      <a:accent1>
        <a:srgbClr val="000A1E"/>
      </a:accent1>
      <a:accent2>
        <a:srgbClr val="00133A"/>
      </a:accent2>
      <a:accent3>
        <a:srgbClr val="93CCDD"/>
      </a:accent3>
      <a:accent4>
        <a:srgbClr val="0070C0"/>
      </a:accent4>
      <a:accent5>
        <a:srgbClr val="414145"/>
      </a:accent5>
      <a:accent6>
        <a:srgbClr val="29BA74"/>
      </a:accent6>
      <a:hlink>
        <a:srgbClr val="30859C"/>
      </a:hlink>
      <a:folHlink>
        <a:srgbClr val="30C1D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060"/>
        </a:solidFill>
        <a:ln w="9525" cap="rnd" cmpd="sng" algn="ctr">
          <a:solidFill>
            <a:srgbClr val="00206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262626"/>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World Health Organization HEPR Grid 16:9 - 18471">
  <a:themeElements>
    <a:clrScheme name="who">
      <a:dk1>
        <a:srgbClr val="262626"/>
      </a:dk1>
      <a:lt1>
        <a:sysClr val="window" lastClr="FFFFFF"/>
      </a:lt1>
      <a:dk2>
        <a:srgbClr val="002060"/>
      </a:dk2>
      <a:lt2>
        <a:srgbClr val="F2F2F2"/>
      </a:lt2>
      <a:accent1>
        <a:srgbClr val="000A1E"/>
      </a:accent1>
      <a:accent2>
        <a:srgbClr val="00133A"/>
      </a:accent2>
      <a:accent3>
        <a:srgbClr val="93CCDD"/>
      </a:accent3>
      <a:accent4>
        <a:srgbClr val="0070C0"/>
      </a:accent4>
      <a:accent5>
        <a:srgbClr val="414145"/>
      </a:accent5>
      <a:accent6>
        <a:srgbClr val="29BA74"/>
      </a:accent6>
      <a:hlink>
        <a:srgbClr val="30859C"/>
      </a:hlink>
      <a:folHlink>
        <a:srgbClr val="30C1D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060"/>
        </a:solidFill>
        <a:ln w="9525" cap="rnd" cmpd="sng" algn="ctr">
          <a:solidFill>
            <a:srgbClr val="00206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262626"/>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_World Health Organization HEPR Grid 16:9 - 18471">
  <a:themeElements>
    <a:clrScheme name="who">
      <a:dk1>
        <a:srgbClr val="262626"/>
      </a:dk1>
      <a:lt1>
        <a:sysClr val="window" lastClr="FFFFFF"/>
      </a:lt1>
      <a:dk2>
        <a:srgbClr val="002060"/>
      </a:dk2>
      <a:lt2>
        <a:srgbClr val="F2F2F2"/>
      </a:lt2>
      <a:accent1>
        <a:srgbClr val="000A1E"/>
      </a:accent1>
      <a:accent2>
        <a:srgbClr val="00133A"/>
      </a:accent2>
      <a:accent3>
        <a:srgbClr val="93CCDD"/>
      </a:accent3>
      <a:accent4>
        <a:srgbClr val="0070C0"/>
      </a:accent4>
      <a:accent5>
        <a:srgbClr val="414145"/>
      </a:accent5>
      <a:accent6>
        <a:srgbClr val="29BA74"/>
      </a:accent6>
      <a:hlink>
        <a:srgbClr val="30859C"/>
      </a:hlink>
      <a:folHlink>
        <a:srgbClr val="30C1D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060"/>
        </a:solidFill>
        <a:ln w="9525" cap="rnd" cmpd="sng" algn="ctr">
          <a:solidFill>
            <a:srgbClr val="00206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262626"/>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2_World Health Organization HEPR Grid 16:9 - 18471">
  <a:themeElements>
    <a:clrScheme name="who">
      <a:dk1>
        <a:srgbClr val="262626"/>
      </a:dk1>
      <a:lt1>
        <a:sysClr val="window" lastClr="FFFFFF"/>
      </a:lt1>
      <a:dk2>
        <a:srgbClr val="002060"/>
      </a:dk2>
      <a:lt2>
        <a:srgbClr val="F2F2F2"/>
      </a:lt2>
      <a:accent1>
        <a:srgbClr val="000A1E"/>
      </a:accent1>
      <a:accent2>
        <a:srgbClr val="00133A"/>
      </a:accent2>
      <a:accent3>
        <a:srgbClr val="93CCDD"/>
      </a:accent3>
      <a:accent4>
        <a:srgbClr val="0070C0"/>
      </a:accent4>
      <a:accent5>
        <a:srgbClr val="414145"/>
      </a:accent5>
      <a:accent6>
        <a:srgbClr val="29BA74"/>
      </a:accent6>
      <a:hlink>
        <a:srgbClr val="30859C"/>
      </a:hlink>
      <a:folHlink>
        <a:srgbClr val="30C1D7"/>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060"/>
        </a:solidFill>
        <a:ln w="9525" cap="rnd" cmpd="sng" algn="ctr">
          <a:solidFill>
            <a:srgbClr val="00206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262626"/>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Custom 123">
      <a:dk1>
        <a:sysClr val="windowText" lastClr="000000"/>
      </a:dk1>
      <a:lt1>
        <a:sysClr val="window" lastClr="FFFFFF"/>
      </a:lt1>
      <a:dk2>
        <a:srgbClr val="00205C"/>
      </a:dk2>
      <a:lt2>
        <a:srgbClr val="EEF4FC"/>
      </a:lt2>
      <a:accent1>
        <a:srgbClr val="FF661C"/>
      </a:accent1>
      <a:accent2>
        <a:srgbClr val="FFA700"/>
      </a:accent2>
      <a:accent3>
        <a:srgbClr val="A7208D"/>
      </a:accent3>
      <a:accent4>
        <a:srgbClr val="53168B"/>
      </a:accent4>
      <a:accent5>
        <a:srgbClr val="8DBB00"/>
      </a:accent5>
      <a:accent6>
        <a:srgbClr val="009BDE"/>
      </a:accent6>
      <a:hlink>
        <a:srgbClr val="00205C"/>
      </a:hlink>
      <a:folHlink>
        <a:srgbClr val="F6F7F9"/>
      </a:folHlink>
    </a:clrScheme>
    <a:fontScheme name="Custom 69">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543BF1C0C6D9E4FBB5FEE4BC4B100D1" ma:contentTypeVersion="28" ma:contentTypeDescription="Create a new document." ma:contentTypeScope="" ma:versionID="9de85fd79bdf44096bb56d40431b246c">
  <xsd:schema xmlns:xsd="http://www.w3.org/2001/XMLSchema" xmlns:xs="http://www.w3.org/2001/XMLSchema" xmlns:p="http://schemas.microsoft.com/office/2006/metadata/properties" xmlns:ns2="98df5fae-d223-47c6-b404-12700d1af5f8" xmlns:ns3="8752884e-e047-4918-bf05-5227d9a8e506" xmlns:ns4="8d42e0dd-18ca-448e-996e-c2aaa315e839" targetNamespace="http://schemas.microsoft.com/office/2006/metadata/properties" ma:root="true" ma:fieldsID="22ce4fe4f0f51b690554d022bfd64858" ns2:_="" ns3:_="" ns4:_="">
    <xsd:import namespace="98df5fae-d223-47c6-b404-12700d1af5f8"/>
    <xsd:import namespace="8752884e-e047-4918-bf05-5227d9a8e506"/>
    <xsd:import namespace="8d42e0dd-18ca-448e-996e-c2aaa315e83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k252aaa5d7654dc48bfb6a7e25aba0dd" minOccurs="0"/>
                <xsd:element ref="ns4:TaxCatchAll" minOccurs="0"/>
                <xsd:element ref="ns2:c7594fdb62a9436eaec39b12d3d1d6c7" minOccurs="0"/>
                <xsd:element ref="ns2:j1e5bf6c6b5c4a5488d284f84f6d57be"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df5fae-d223-47c6-b404-12700d1af5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k252aaa5d7654dc48bfb6a7e25aba0dd" ma:index="15" nillable="true" ma:taxonomy="true" ma:internalName="k252aaa5d7654dc48bfb6a7e25aba0dd" ma:taxonomyFieldName="Country" ma:displayName="MCGL Country" ma:readOnly="false" ma:default="" ma:fieldId="{4252aaa5-d765-4dc4-8bfb-6a7e25aba0dd}" ma:taxonomyMulti="true" ma:sspId="b704c289-2b3b-45af-a6a7-9640d4e0aeeb" ma:termSetId="4945c31e-24a3-48ea-ae34-c0ae0ef25478" ma:anchorId="00000000-0000-0000-0000-000000000000" ma:open="false" ma:isKeyword="false">
      <xsd:complexType>
        <xsd:sequence>
          <xsd:element ref="pc:Terms" minOccurs="0" maxOccurs="1"/>
        </xsd:sequence>
      </xsd:complexType>
    </xsd:element>
    <xsd:element name="c7594fdb62a9436eaec39b12d3d1d6c7" ma:index="18" nillable="true" ma:taxonomy="true" ma:internalName="c7594fdb62a9436eaec39b12d3d1d6c7" ma:taxonomyFieldName="MCGL_x0020_Accelerator" ma:displayName="MCGL Accelerator" ma:readOnly="false" ma:default="" ma:fieldId="{c7594fdb-62a9-436e-aec3-9b12d3d1d6c7}" ma:taxonomyMulti="true" ma:sspId="b704c289-2b3b-45af-a6a7-9640d4e0aeeb" ma:termSetId="e6e03eee-2b9a-4e86-8279-7e50d8f0b04d" ma:anchorId="00000000-0000-0000-0000-000000000000" ma:open="false" ma:isKeyword="false">
      <xsd:complexType>
        <xsd:sequence>
          <xsd:element ref="pc:Terms" minOccurs="0" maxOccurs="1"/>
        </xsd:sequence>
      </xsd:complexType>
    </xsd:element>
    <xsd:element name="j1e5bf6c6b5c4a5488d284f84f6d57be" ma:index="20" nillable="true" ma:taxonomy="true" ma:internalName="j1e5bf6c6b5c4a5488d284f84f6d57be" ma:taxonomyFieldName="High_x002d_impact_x0020_Intervention" ma:displayName="High-impact Intervention" ma:readOnly="false" ma:default="" ma:fieldId="{31e5bf6c-6b5c-4a54-88d2-84f84f6d57be}" ma:taxonomyMulti="true" ma:sspId="b704c289-2b3b-45af-a6a7-9640d4e0aeeb" ma:termSetId="2340cb37-154c-490f-a45f-e628ae23e4f4" ma:anchorId="00000000-0000-0000-0000-000000000000" ma:open="false" ma:isKeyword="false">
      <xsd:complexType>
        <xsd:sequence>
          <xsd:element ref="pc:Terms" minOccurs="0" maxOccurs="1"/>
        </xsd:sequence>
      </xsd:complexType>
    </xsd:element>
    <xsd:element name="MediaServiceDateTaken" ma:index="21" nillable="true" ma:displayName="MediaServiceDateTaken" ma:hidden="true" ma:internalName="MediaServiceDateTaken" ma:readOnly="true">
      <xsd:simpleType>
        <xsd:restriction base="dms:Text"/>
      </xsd:simpleType>
    </xsd:element>
    <xsd:element name="MediaServiceAutoTags" ma:index="22" nillable="true" ma:displayName="Tags" ma:internalName="MediaServiceAutoTags"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GenerationTime" ma:index="24" nillable="true" ma:displayName="MediaServiceGenerationTime" ma:hidden="true" ma:internalName="MediaServiceGenerationTime" ma:readOnly="true">
      <xsd:simpleType>
        <xsd:restriction base="dms:Text"/>
      </xsd:simpleType>
    </xsd:element>
    <xsd:element name="MediaServiceEventHashCode" ma:index="25" nillable="true" ma:displayName="MediaServiceEventHashCode" ma:hidden="true" ma:internalName="MediaServiceEventHashCode" ma:readOnly="true">
      <xsd:simpleType>
        <xsd:restriction base="dms:Text"/>
      </xsd:simpleType>
    </xsd:element>
    <xsd:element name="MediaLengthInSeconds" ma:index="26" nillable="true" ma:displayName="Length (seconds)" ma:internalName="MediaLengthInSeconds" ma:readOnly="true">
      <xsd:simpleType>
        <xsd:restriction base="dms:Unknown"/>
      </xsd:simpleType>
    </xsd:element>
    <xsd:element name="MediaServiceLocation" ma:index="27" nillable="true" ma:displayName="Location" ma:internalName="MediaServiceLocation" ma:readOnly="true">
      <xsd:simpleType>
        <xsd:restriction base="dms:Text"/>
      </xsd:simpleType>
    </xsd:element>
    <xsd:element name="lcf76f155ced4ddcb4097134ff3c332f" ma:index="29" nillable="true" ma:taxonomy="true" ma:internalName="lcf76f155ced4ddcb4097134ff3c332f" ma:taxonomyFieldName="MediaServiceImageTags" ma:displayName="Image Tags" ma:readOnly="false" ma:fieldId="{5cf76f15-5ced-4ddc-b409-7134ff3c332f}" ma:taxonomyMulti="true" ma:sspId="b704c289-2b3b-45af-a6a7-9640d4e0aee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752884e-e047-4918-bf05-5227d9a8e50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d42e0dd-18ca-448e-996e-c2aaa315e839"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5818b53-3051-4c6e-89da-e62728af6d94}" ma:internalName="TaxCatchAll" ma:showField="CatchAllData" ma:web="71c45d75-c9c9-409a-a4e9-a617adc7c43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7594fdb62a9436eaec39b12d3d1d6c7 xmlns="98df5fae-d223-47c6-b404-12700d1af5f8">
      <Terms xmlns="http://schemas.microsoft.com/office/infopath/2007/PartnerControls"/>
    </c7594fdb62a9436eaec39b12d3d1d6c7>
    <k252aaa5d7654dc48bfb6a7e25aba0dd xmlns="98df5fae-d223-47c6-b404-12700d1af5f8">
      <Terms xmlns="http://schemas.microsoft.com/office/infopath/2007/PartnerControls"/>
    </k252aaa5d7654dc48bfb6a7e25aba0dd>
    <j1e5bf6c6b5c4a5488d284f84f6d57be xmlns="98df5fae-d223-47c6-b404-12700d1af5f8">
      <Terms xmlns="http://schemas.microsoft.com/office/infopath/2007/PartnerControls"/>
    </j1e5bf6c6b5c4a5488d284f84f6d57be>
    <lcf76f155ced4ddcb4097134ff3c332f xmlns="98df5fae-d223-47c6-b404-12700d1af5f8">
      <Terms xmlns="http://schemas.microsoft.com/office/infopath/2007/PartnerControls"/>
    </lcf76f155ced4ddcb4097134ff3c332f>
    <TaxCatchAll xmlns="8d42e0dd-18ca-448e-996e-c2aaa315e839" xsi:nil="true"/>
  </documentManagement>
</p:properties>
</file>

<file path=customXml/itemProps1.xml><?xml version="1.0" encoding="utf-8"?>
<ds:datastoreItem xmlns:ds="http://schemas.openxmlformats.org/officeDocument/2006/customXml" ds:itemID="{99BBAE1C-AE7F-4042-B939-27B1406DB04A}">
  <ds:schemaRefs>
    <ds:schemaRef ds:uri="http://schemas.microsoft.com/sharepoint/v3/contenttype/forms"/>
  </ds:schemaRefs>
</ds:datastoreItem>
</file>

<file path=customXml/itemProps2.xml><?xml version="1.0" encoding="utf-8"?>
<ds:datastoreItem xmlns:ds="http://schemas.openxmlformats.org/officeDocument/2006/customXml" ds:itemID="{385902AE-BBD4-4353-9FFD-F208224BE52F}"/>
</file>

<file path=customXml/itemProps3.xml><?xml version="1.0" encoding="utf-8"?>
<ds:datastoreItem xmlns:ds="http://schemas.openxmlformats.org/officeDocument/2006/customXml" ds:itemID="{1AD7AD2E-47EE-4ABF-82FB-E55AF88C6EFB}">
  <ds:schemaRefs>
    <ds:schemaRef ds:uri="http://schemas.openxmlformats.org/package/2006/metadata/core-properties"/>
    <ds:schemaRef ds:uri="http://purl.org/dc/elements/1.1/"/>
    <ds:schemaRef ds:uri="e525f45e-12aa-43f1-99a0-18fd9df9a174"/>
    <ds:schemaRef ds:uri="http://schemas.microsoft.com/office/2006/documentManagement/types"/>
    <ds:schemaRef ds:uri="http://schemas.microsoft.com/office/infopath/2007/PartnerControls"/>
    <ds:schemaRef ds:uri="http://www.w3.org/XML/1998/namespace"/>
    <ds:schemaRef ds:uri="http://schemas.microsoft.com/office/2006/metadata/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9555</TotalTime>
  <Words>1868</Words>
  <Application>Microsoft Macintosh PowerPoint</Application>
  <PresentationFormat>Widescreen</PresentationFormat>
  <Paragraphs>348</Paragraphs>
  <Slides>17</Slides>
  <Notes>12</Notes>
  <HiddenSlides>0</HiddenSlides>
  <MMClips>0</MMClips>
  <ScaleCrop>false</ScaleCrop>
  <HeadingPairs>
    <vt:vector size="10"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30" baseType="lpstr">
      <vt:lpstr>Arial</vt:lpstr>
      <vt:lpstr>Calibri</vt:lpstr>
      <vt:lpstr>Noto Sans</vt:lpstr>
      <vt:lpstr>Segoe UI</vt:lpstr>
      <vt:lpstr>Source Sans Pro</vt:lpstr>
      <vt:lpstr>Trebuchet MS</vt:lpstr>
      <vt:lpstr>World Health Organization HEPR Grid 16:9 - 18471</vt:lpstr>
      <vt:lpstr>World Health Organization HEPR Grid 16:9 - 18471</vt:lpstr>
      <vt:lpstr>1_World Health Organization HEPR Grid 16:9 - 18471</vt:lpstr>
      <vt:lpstr>2_World Health Organization HEPR Grid 16:9 - 18471</vt:lpstr>
      <vt:lpstr>Office Theme</vt:lpstr>
      <vt:lpstr>think-cell Slide</vt:lpstr>
      <vt:lpstr>A Roadmap and Call-to-Action to Combat Postpartum Haemorrhage from 2023 to 2030</vt:lpstr>
      <vt:lpstr>Why do we need a PPH Roadmap? </vt:lpstr>
      <vt:lpstr>PowerPoint Presentation</vt:lpstr>
      <vt:lpstr>The Roadmap</vt:lpstr>
      <vt:lpstr>How did we get here? Four strategic areas to catalyse action</vt:lpstr>
      <vt:lpstr>Roadmap to accelerate progress on Postpartum Haemorrhage</vt:lpstr>
      <vt:lpstr>Roadmap to accelerate progress on Postpartum Haemorrhage</vt:lpstr>
      <vt:lpstr>Roadmap to accelerate progress on Postpartum Haemorrhage</vt:lpstr>
      <vt:lpstr>Roadmap to accelerate progress on Postpartum Haemorrhage</vt:lpstr>
      <vt:lpstr>Roadmap to accelerate progress on Postpartum Haemorrhage</vt:lpstr>
      <vt:lpstr>Roadmap to accelerate progress on Postpartum Haemorrhage</vt:lpstr>
      <vt:lpstr>PowerPoint Presentation</vt:lpstr>
      <vt:lpstr>Since the soft launch of the Roadmap at IMNHC, several partners have made important commitments</vt:lpstr>
      <vt:lpstr>In addition, WHO has already begun to make progress against its commitments</vt:lpstr>
      <vt:lpstr>Communications and Dissemination Strategy</vt:lpstr>
      <vt:lpstr>Global Call-to-Action  targeting 9 categories of stakeholders </vt:lpstr>
      <vt:lpstr>Thank you!</vt:lpstr>
      <vt:lpstr>Format Guide Workshop</vt:lpstr>
    </vt:vector>
  </TitlesOfParts>
  <Manager/>
  <Company>The Boston Consulting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e Boston Consulting Group</dc:creator>
  <cp:keywords/>
  <dc:description/>
  <cp:lastModifiedBy>Mathea Pielemeier</cp:lastModifiedBy>
  <cp:revision>266</cp:revision>
  <cp:lastPrinted>1999-12-31T23:00:00Z</cp:lastPrinted>
  <dcterms:created xsi:type="dcterms:W3CDTF">2023-02-16T17:17:11Z</dcterms:created>
  <dcterms:modified xsi:type="dcterms:W3CDTF">2023-09-12T23:04:2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8543BF1C0C6D9E4FBB5FEE4BC4B100D1</vt:lpwstr>
  </property>
  <property fmtid="{D5CDD505-2E9C-101B-9397-08002B2CF9AE}" pid="8" name="MediaServiceImageTags">
    <vt:lpwstr/>
  </property>
  <property fmtid="{D5CDD505-2E9C-101B-9397-08002B2CF9AE}" pid="9" name="MSIP_Label_b0d5c4f4-7a29-4385-b7a5-afbe2154ae6f_Enabled">
    <vt:lpwstr>true</vt:lpwstr>
  </property>
  <property fmtid="{D5CDD505-2E9C-101B-9397-08002B2CF9AE}" pid="10" name="MSIP_Label_b0d5c4f4-7a29-4385-b7a5-afbe2154ae6f_SetDate">
    <vt:lpwstr>2023-04-04T17:27:38Z</vt:lpwstr>
  </property>
  <property fmtid="{D5CDD505-2E9C-101B-9397-08002B2CF9AE}" pid="11" name="MSIP_Label_b0d5c4f4-7a29-4385-b7a5-afbe2154ae6f_Method">
    <vt:lpwstr>Standard</vt:lpwstr>
  </property>
  <property fmtid="{D5CDD505-2E9C-101B-9397-08002B2CF9AE}" pid="12" name="MSIP_Label_b0d5c4f4-7a29-4385-b7a5-afbe2154ae6f_Name">
    <vt:lpwstr>Confidential</vt:lpwstr>
  </property>
  <property fmtid="{D5CDD505-2E9C-101B-9397-08002B2CF9AE}" pid="13" name="MSIP_Label_b0d5c4f4-7a29-4385-b7a5-afbe2154ae6f_SiteId">
    <vt:lpwstr>2dfb2f0b-4d21-4268-9559-72926144c918</vt:lpwstr>
  </property>
  <property fmtid="{D5CDD505-2E9C-101B-9397-08002B2CF9AE}" pid="14" name="MSIP_Label_b0d5c4f4-7a29-4385-b7a5-afbe2154ae6f_ActionId">
    <vt:lpwstr>6f9ba414-0450-45ad-854c-fe11b7152ba7</vt:lpwstr>
  </property>
  <property fmtid="{D5CDD505-2E9C-101B-9397-08002B2CF9AE}" pid="15" name="MSIP_Label_b0d5c4f4-7a29-4385-b7a5-afbe2154ae6f_ContentBits">
    <vt:lpwstr>0</vt:lpwstr>
  </property>
  <property fmtid="{D5CDD505-2E9C-101B-9397-08002B2CF9AE}" pid="16" name="bcgClassification">
    <vt:lpwstr>bcgConfidential</vt:lpwstr>
  </property>
</Properties>
</file>